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5" r:id="rId4"/>
  </p:sldMasterIdLst>
  <p:notesMasterIdLst>
    <p:notesMasterId r:id="rId48"/>
  </p:notesMasterIdLst>
  <p:handoutMasterIdLst>
    <p:handoutMasterId r:id="rId49"/>
  </p:handoutMasterIdLst>
  <p:sldIdLst>
    <p:sldId id="339" r:id="rId5"/>
    <p:sldId id="1448942204" r:id="rId6"/>
    <p:sldId id="391" r:id="rId7"/>
    <p:sldId id="392" r:id="rId8"/>
    <p:sldId id="393" r:id="rId9"/>
    <p:sldId id="394" r:id="rId10"/>
    <p:sldId id="395" r:id="rId11"/>
    <p:sldId id="396" r:id="rId12"/>
    <p:sldId id="398" r:id="rId13"/>
    <p:sldId id="399" r:id="rId14"/>
    <p:sldId id="400" r:id="rId15"/>
    <p:sldId id="401" r:id="rId16"/>
    <p:sldId id="402" r:id="rId17"/>
    <p:sldId id="403" r:id="rId18"/>
    <p:sldId id="385" r:id="rId19"/>
    <p:sldId id="386" r:id="rId20"/>
    <p:sldId id="388" r:id="rId21"/>
    <p:sldId id="387" r:id="rId22"/>
    <p:sldId id="404" r:id="rId23"/>
    <p:sldId id="372" r:id="rId24"/>
    <p:sldId id="410" r:id="rId25"/>
    <p:sldId id="378" r:id="rId26"/>
    <p:sldId id="365" r:id="rId27"/>
    <p:sldId id="1448942217" r:id="rId28"/>
    <p:sldId id="375" r:id="rId29"/>
    <p:sldId id="1448942219" r:id="rId30"/>
    <p:sldId id="348" r:id="rId31"/>
    <p:sldId id="357" r:id="rId32"/>
    <p:sldId id="1448942220" r:id="rId33"/>
    <p:sldId id="355" r:id="rId34"/>
    <p:sldId id="1448942221" r:id="rId35"/>
    <p:sldId id="373" r:id="rId36"/>
    <p:sldId id="1448942218" r:id="rId37"/>
    <p:sldId id="359" r:id="rId38"/>
    <p:sldId id="347" r:id="rId39"/>
    <p:sldId id="306" r:id="rId40"/>
    <p:sldId id="1448942212" r:id="rId41"/>
    <p:sldId id="1448942213" r:id="rId42"/>
    <p:sldId id="1448942214" r:id="rId43"/>
    <p:sldId id="1448942215" r:id="rId44"/>
    <p:sldId id="256" r:id="rId45"/>
    <p:sldId id="1448942216" r:id="rId46"/>
    <p:sldId id="381" r:id="rId47"/>
  </p:sldIdLst>
  <p:sldSz cx="12192000" cy="6858000"/>
  <p:notesSz cx="6858000" cy="91440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1412" userDrawn="1">
          <p15:clr>
            <a:srgbClr val="A4A3A4"/>
          </p15:clr>
        </p15:guide>
        <p15:guide id="3" orient="horz" pos="2976" userDrawn="1">
          <p15:clr>
            <a:srgbClr val="A4A3A4"/>
          </p15:clr>
        </p15:guide>
        <p15:guide id="4" orient="horz" pos="3555" userDrawn="1">
          <p15:clr>
            <a:srgbClr val="A4A3A4"/>
          </p15:clr>
        </p15:guide>
        <p15:guide id="5" orient="horz" pos="3203"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lins, Michelle" initials="MC" lastIdx="3" clrIdx="0">
    <p:extLst>
      <p:ext uri="{19B8F6BF-5375-455C-9EA6-DF929625EA0E}">
        <p15:presenceInfo xmlns:p15="http://schemas.microsoft.com/office/powerpoint/2012/main" userId="Collins, Michelle" providerId="None"/>
      </p:ext>
    </p:extLst>
  </p:cmAuthor>
  <p:cmAuthor id="2" name="Peacock, Emma" initials="PE" lastIdx="2" clrIdx="1">
    <p:extLst>
      <p:ext uri="{19B8F6BF-5375-455C-9EA6-DF929625EA0E}">
        <p15:presenceInfo xmlns:p15="http://schemas.microsoft.com/office/powerpoint/2012/main" userId="S::PeacockE@lloyds.com::47588fa4-e537-4c28-9bd2-f46a9c776c8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CCBD"/>
    <a:srgbClr val="DAC2F0"/>
    <a:srgbClr val="BCE7DE"/>
    <a:srgbClr val="95DCD0"/>
    <a:srgbClr val="59D1BF"/>
    <a:srgbClr val="00C2AE"/>
    <a:srgbClr val="00AD9B"/>
    <a:srgbClr val="009585"/>
    <a:srgbClr val="54A6FF"/>
    <a:srgbClr val="0A4B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15A0A25-C6BA-5797-D02C-93CD999BF4AD}" v="164" dt="2022-02-23T00:51:07.297"/>
    <p1510:client id="{236776B0-8019-010A-4D8F-273815C368CE}" v="14" dt="2022-02-15T09:27:54.208"/>
    <p1510:client id="{46980186-DD00-695E-D7CE-ABDCB5C8C9EA}" v="758" dt="2022-02-14T14:10:08.772"/>
    <p1510:client id="{4FE77113-409A-1E93-97A3-728E4D1C65D3}" v="245" dt="2022-02-23T15:54:11.888"/>
    <p1510:client id="{5D44F6FC-4B92-FCA3-4F0B-70894E04EEA0}" v="39" dt="2022-02-16T16:50:49.011"/>
    <p1510:client id="{67F6BC7C-E0DA-45F8-1B01-1F89D26E00E4}" v="1812" dt="2022-02-21T21:41:21.196"/>
    <p1510:client id="{71BC457F-3E12-F1F7-76F6-6E090E9B62FF}" v="239" dt="2022-02-23T00:36:41.305"/>
    <p1510:client id="{7F07B4BB-6CE7-652D-3F9B-07CA7ABA54AC}" v="1" dt="2022-02-23T09:56:12.371"/>
    <p1510:client id="{7FFFFA7D-EABF-3BA2-778B-7A5C2E9AC9A4}" v="170" dt="2022-02-23T14:04:21.132"/>
    <p1510:client id="{8F983EC8-13C5-98A1-0B34-95DD428C03C5}" v="42" dt="2022-02-14T17:11:18.927"/>
    <p1510:client id="{96E36AB5-AD17-2A4E-640F-295A8B41A3CB}" v="326" dt="2022-02-24T08:04:11.641"/>
    <p1510:client id="{A01B611D-EE8C-23B6-913A-11848D73EE2C}" v="26" dt="2022-02-23T23:51:50.464"/>
    <p1510:client id="{B44C4E9B-0BC0-34AD-27D4-250B4A125D69}" v="170" dt="2022-01-31T16:24:59.310"/>
    <p1510:client id="{C79A3F28-D4DA-18C7-350B-9EB73ABBA79E}" v="10" dt="2022-02-24T00:04:40.555"/>
    <p1510:client id="{C901946C-038B-E934-99B2-40CD099727DD}" v="26" dt="2022-02-09T14:31:52.245"/>
    <p1510:client id="{CF838C79-5E17-6591-CD7E-AF80AB7C1398}" v="29" dt="2022-02-17T15:44:11.356"/>
    <p1510:client id="{D0DD01D2-12C9-0B0E-5EE5-DB545F0ED392}" v="2" dt="2022-02-24T00:05:45.565"/>
    <p1510:client id="{EC2E191C-AFFA-2C05-E86C-51F2989CF16B}" v="10" dt="2022-02-15T15:26:58.298"/>
    <p1510:client id="{F44D259E-7229-3E9B-A0D7-6CEDA5D6D65E}" v="105" dt="2022-02-14T16:58:53.497"/>
    <p1510:client id="{FE1A8EA0-793B-7A6C-E9DB-1F2F2D52F701}" v="37" dt="2022-02-17T13:44:16.501"/>
  </p1510:revLst>
</p1510:revInfo>
</file>

<file path=ppt/tableStyles.xml><?xml version="1.0" encoding="utf-8"?>
<a:tblStyleLst xmlns:a="http://schemas.openxmlformats.org/drawingml/2006/main" def="{7E9639D4-E3E2-4D34-9284-5A2195B3D0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3" d="100"/>
          <a:sy n="53" d="100"/>
        </p:scale>
        <p:origin x="64" y="176"/>
      </p:cViewPr>
      <p:guideLst>
        <p:guide orient="horz" pos="1412"/>
        <p:guide orient="horz" pos="2976"/>
        <p:guide orient="horz" pos="3555"/>
        <p:guide orient="horz" pos="3203"/>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2DBE24-2887-4222-A5AE-D5DEEAC59DB8}"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GB"/>
        </a:p>
      </dgm:t>
    </dgm:pt>
    <dgm:pt modelId="{BD565BF3-BD61-410E-A520-98843F2CC73C}">
      <dgm:prSet phldrT="[Text]"/>
      <dgm:spPr/>
      <dgm:t>
        <a:bodyPr/>
        <a:lstStyle/>
        <a:p>
          <a:r>
            <a:rPr lang="en-GB"/>
            <a:t>Q4</a:t>
          </a:r>
        </a:p>
      </dgm:t>
    </dgm:pt>
    <dgm:pt modelId="{837B49D8-C0F3-490B-ACBB-6B8A46BD2709}" type="parTrans" cxnId="{6275CDF8-6694-4703-9C38-8AFFE6934798}">
      <dgm:prSet/>
      <dgm:spPr/>
      <dgm:t>
        <a:bodyPr/>
        <a:lstStyle/>
        <a:p>
          <a:endParaRPr lang="en-GB"/>
        </a:p>
      </dgm:t>
    </dgm:pt>
    <dgm:pt modelId="{2BBBAE99-CD21-41B6-8D92-53F9BCCB46FE}" type="sibTrans" cxnId="{6275CDF8-6694-4703-9C38-8AFFE6934798}">
      <dgm:prSet/>
      <dgm:spPr/>
      <dgm:t>
        <a:bodyPr/>
        <a:lstStyle/>
        <a:p>
          <a:endParaRPr lang="en-GB"/>
        </a:p>
      </dgm:t>
    </dgm:pt>
    <dgm:pt modelId="{39F4DD28-CD04-4644-8612-51A31DFDA8D5}">
      <dgm:prSet phldrT="[Text]"/>
      <dgm:spPr/>
      <dgm:t>
        <a:bodyPr/>
        <a:lstStyle/>
        <a:p>
          <a:r>
            <a:rPr lang="en-GB"/>
            <a:t>Q1</a:t>
          </a:r>
        </a:p>
      </dgm:t>
    </dgm:pt>
    <dgm:pt modelId="{54C5610E-DD60-41B7-AD04-97675009C68F}" type="parTrans" cxnId="{FBCE8A58-2620-4557-B2C3-24310BA66E21}">
      <dgm:prSet/>
      <dgm:spPr/>
      <dgm:t>
        <a:bodyPr/>
        <a:lstStyle/>
        <a:p>
          <a:endParaRPr lang="en-GB"/>
        </a:p>
      </dgm:t>
    </dgm:pt>
    <dgm:pt modelId="{175CFB1E-C344-4F0A-850E-50CDA35C7BA1}" type="sibTrans" cxnId="{FBCE8A58-2620-4557-B2C3-24310BA66E21}">
      <dgm:prSet/>
      <dgm:spPr/>
      <dgm:t>
        <a:bodyPr/>
        <a:lstStyle/>
        <a:p>
          <a:endParaRPr lang="en-GB"/>
        </a:p>
      </dgm:t>
    </dgm:pt>
    <dgm:pt modelId="{8BA4A30F-CD7C-4043-9996-16B9F34A0C25}">
      <dgm:prSet phldrT="[Text]"/>
      <dgm:spPr/>
      <dgm:t>
        <a:bodyPr/>
        <a:lstStyle/>
        <a:p>
          <a:r>
            <a:rPr lang="en-GB"/>
            <a:t>Q2</a:t>
          </a:r>
        </a:p>
      </dgm:t>
    </dgm:pt>
    <dgm:pt modelId="{EDC105B9-77AF-43FD-BD3E-B740838CB991}" type="parTrans" cxnId="{7E10801C-1124-4CEC-AE4A-BF9BFE692546}">
      <dgm:prSet/>
      <dgm:spPr/>
      <dgm:t>
        <a:bodyPr/>
        <a:lstStyle/>
        <a:p>
          <a:endParaRPr lang="en-GB"/>
        </a:p>
      </dgm:t>
    </dgm:pt>
    <dgm:pt modelId="{B4436F83-5926-4890-90C1-9896BF2B53E5}" type="sibTrans" cxnId="{7E10801C-1124-4CEC-AE4A-BF9BFE692546}">
      <dgm:prSet/>
      <dgm:spPr/>
      <dgm:t>
        <a:bodyPr/>
        <a:lstStyle/>
        <a:p>
          <a:endParaRPr lang="en-GB"/>
        </a:p>
      </dgm:t>
    </dgm:pt>
    <dgm:pt modelId="{D7131CED-61FF-4340-8EA2-4BA3E025D17F}">
      <dgm:prSet phldrT="[Text]" custT="1"/>
      <dgm:spPr/>
      <dgm:t>
        <a:bodyPr/>
        <a:lstStyle/>
        <a:p>
          <a:pPr algn="l" rtl="0"/>
          <a:r>
            <a:rPr lang="en-GB" sz="1100">
              <a:latin typeface="Arial"/>
            </a:rPr>
            <a:t>'Lockdown'</a:t>
          </a:r>
          <a:r>
            <a:rPr lang="en-GB" sz="1100"/>
            <a:t> of</a:t>
          </a:r>
          <a:r>
            <a:rPr lang="en-GB" sz="1100">
              <a:latin typeface="Arial"/>
            </a:rPr>
            <a:t> ratings</a:t>
          </a:r>
          <a:r>
            <a:rPr lang="en-GB" sz="1100"/>
            <a:t> for Business Planning</a:t>
          </a:r>
        </a:p>
      </dgm:t>
    </dgm:pt>
    <dgm:pt modelId="{D829485F-0A8D-4358-9DF7-B2E3CE4458F8}" type="parTrans" cxnId="{06A78C73-9D01-44CC-BC02-AC870CDD5403}">
      <dgm:prSet/>
      <dgm:spPr/>
      <dgm:t>
        <a:bodyPr/>
        <a:lstStyle/>
        <a:p>
          <a:endParaRPr lang="en-GB"/>
        </a:p>
      </dgm:t>
    </dgm:pt>
    <dgm:pt modelId="{2324E80F-52ED-4C48-92E3-5885259C17D5}" type="sibTrans" cxnId="{06A78C73-9D01-44CC-BC02-AC870CDD5403}">
      <dgm:prSet/>
      <dgm:spPr/>
      <dgm:t>
        <a:bodyPr/>
        <a:lstStyle/>
        <a:p>
          <a:endParaRPr lang="en-GB"/>
        </a:p>
      </dgm:t>
    </dgm:pt>
    <dgm:pt modelId="{C9FC77E1-7348-4AC0-82A5-09E47E0BFEDE}">
      <dgm:prSet phldrT="[Text]"/>
      <dgm:spPr/>
      <dgm:t>
        <a:bodyPr/>
        <a:lstStyle/>
        <a:p>
          <a:r>
            <a:rPr lang="en-GB"/>
            <a:t>Q3</a:t>
          </a:r>
        </a:p>
      </dgm:t>
    </dgm:pt>
    <dgm:pt modelId="{938A678E-7966-417F-ACB7-EFA13298A0C1}" type="parTrans" cxnId="{318F239A-72BD-49C2-B6F2-2C5D72BA84EE}">
      <dgm:prSet/>
      <dgm:spPr/>
      <dgm:t>
        <a:bodyPr/>
        <a:lstStyle/>
        <a:p>
          <a:endParaRPr lang="en-GB"/>
        </a:p>
      </dgm:t>
    </dgm:pt>
    <dgm:pt modelId="{AA5D68A2-A374-46BE-BC06-A21CB526D399}" type="sibTrans" cxnId="{318F239A-72BD-49C2-B6F2-2C5D72BA84EE}">
      <dgm:prSet/>
      <dgm:spPr/>
      <dgm:t>
        <a:bodyPr/>
        <a:lstStyle/>
        <a:p>
          <a:endParaRPr lang="en-GB"/>
        </a:p>
      </dgm:t>
    </dgm:pt>
    <dgm:pt modelId="{BB4AF629-9864-490E-AD72-F8422AB58D4D}">
      <dgm:prSet phldrT="[Text]" custT="1"/>
      <dgm:spPr/>
      <dgm:t>
        <a:bodyPr/>
        <a:lstStyle/>
        <a:p>
          <a:pPr rtl="0"/>
          <a:r>
            <a:rPr lang="en-GB" sz="1100"/>
            <a:t>Principles used to support Business Planning process</a:t>
          </a:r>
        </a:p>
      </dgm:t>
    </dgm:pt>
    <dgm:pt modelId="{46C45D97-DA72-4194-846E-1A1F53E49EB4}" type="parTrans" cxnId="{9C6CF2F0-CE1A-4437-ABF9-DAAFD01231C5}">
      <dgm:prSet/>
      <dgm:spPr/>
      <dgm:t>
        <a:bodyPr/>
        <a:lstStyle/>
        <a:p>
          <a:endParaRPr lang="en-GB"/>
        </a:p>
      </dgm:t>
    </dgm:pt>
    <dgm:pt modelId="{52A37264-BADA-4A72-91D3-E4490E730676}" type="sibTrans" cxnId="{9C6CF2F0-CE1A-4437-ABF9-DAAFD01231C5}">
      <dgm:prSet/>
      <dgm:spPr/>
      <dgm:t>
        <a:bodyPr/>
        <a:lstStyle/>
        <a:p>
          <a:endParaRPr lang="en-GB"/>
        </a:p>
      </dgm:t>
    </dgm:pt>
    <dgm:pt modelId="{EA9145C4-EE61-465A-AE39-440901E72FEA}">
      <dgm:prSet custT="1"/>
      <dgm:spPr/>
      <dgm:t>
        <a:bodyPr/>
        <a:lstStyle/>
        <a:p>
          <a:pPr algn="l" rtl="0"/>
          <a:r>
            <a:rPr lang="en-GB" sz="1100">
              <a:latin typeface="Arial"/>
            </a:rPr>
            <a:t>Maturity self</a:t>
          </a:r>
          <a:r>
            <a:rPr lang="en-GB" sz="1100"/>
            <a:t> </a:t>
          </a:r>
          <a:r>
            <a:rPr lang="en-GB" sz="1100">
              <a:latin typeface="Arial"/>
            </a:rPr>
            <a:t>assessment submissions</a:t>
          </a:r>
          <a:endParaRPr lang="en-GB" sz="1100"/>
        </a:p>
      </dgm:t>
    </dgm:pt>
    <dgm:pt modelId="{69A5E637-0337-48D1-AD7A-07ECE822916D}" type="parTrans" cxnId="{1517329F-E9A4-458A-9A78-F7FC25787953}">
      <dgm:prSet/>
      <dgm:spPr/>
    </dgm:pt>
    <dgm:pt modelId="{DD1A559E-4C32-4FE3-B30D-71951DC61613}" type="sibTrans" cxnId="{1517329F-E9A4-458A-9A78-F7FC25787953}">
      <dgm:prSet/>
      <dgm:spPr/>
    </dgm:pt>
    <dgm:pt modelId="{54D1C429-DA29-4E98-B650-340E3B153677}">
      <dgm:prSet custT="1"/>
      <dgm:spPr/>
      <dgm:t>
        <a:bodyPr/>
        <a:lstStyle/>
        <a:p>
          <a:pPr algn="l" rtl="0"/>
          <a:endParaRPr lang="en-GB" sz="1100"/>
        </a:p>
      </dgm:t>
    </dgm:pt>
    <dgm:pt modelId="{D10B1558-C963-4BE5-9871-E6EC9DA7286D}" type="parTrans" cxnId="{EB26BAD4-FCC8-4CE6-873E-8A9B9A6FA5AF}">
      <dgm:prSet/>
      <dgm:spPr/>
    </dgm:pt>
    <dgm:pt modelId="{EBE01A68-4F76-4EBB-818D-E640B05260A0}" type="sibTrans" cxnId="{EB26BAD4-FCC8-4CE6-873E-8A9B9A6FA5AF}">
      <dgm:prSet/>
      <dgm:spPr/>
    </dgm:pt>
    <dgm:pt modelId="{3FFFAB8C-EAA6-4F96-AF82-521148DE9629}">
      <dgm:prSet custT="1"/>
      <dgm:spPr/>
      <dgm:t>
        <a:bodyPr/>
        <a:lstStyle/>
        <a:p>
          <a:pPr algn="l" rtl="0"/>
          <a:r>
            <a:rPr lang="en-GB" sz="1100">
              <a:latin typeface="Arial"/>
            </a:rPr>
            <a:t> </a:t>
          </a:r>
          <a:r>
            <a:rPr lang="en-GB" sz="1100"/>
            <a:t>Feedback to </a:t>
          </a:r>
          <a:r>
            <a:rPr lang="en-GB" sz="1100">
              <a:latin typeface="Arial"/>
            </a:rPr>
            <a:t>managing</a:t>
          </a:r>
          <a:r>
            <a:rPr lang="en-GB" sz="1100"/>
            <a:t> </a:t>
          </a:r>
          <a:r>
            <a:rPr lang="en-GB" sz="1100">
              <a:latin typeface="Arial"/>
            </a:rPr>
            <a:t>agents of maturity ratings</a:t>
          </a:r>
          <a:endParaRPr lang="en-US" sz="1100"/>
        </a:p>
      </dgm:t>
    </dgm:pt>
    <dgm:pt modelId="{929ADC78-69BA-4241-8923-A377E2EABDEC}" type="parTrans" cxnId="{F3A9D5C4-2FA6-44B3-85B5-613B04D0520D}">
      <dgm:prSet/>
      <dgm:spPr/>
    </dgm:pt>
    <dgm:pt modelId="{8846CDDC-3B60-4095-99B8-AF1CE4317EBD}" type="sibTrans" cxnId="{F3A9D5C4-2FA6-44B3-85B5-613B04D0520D}">
      <dgm:prSet/>
      <dgm:spPr/>
    </dgm:pt>
    <dgm:pt modelId="{DE1B2A21-28B6-41E6-93E5-589D88A27D40}">
      <dgm:prSet custT="1"/>
      <dgm:spPr/>
      <dgm:t>
        <a:bodyPr/>
        <a:lstStyle/>
        <a:p>
          <a:r>
            <a:rPr lang="en-GB" sz="1100">
              <a:latin typeface="Arial"/>
            </a:rPr>
            <a:t>Updates</a:t>
          </a:r>
          <a:r>
            <a:rPr lang="en-GB" sz="1100"/>
            <a:t> to framework defined and communicated for following year</a:t>
          </a:r>
          <a:endParaRPr lang="en-US" sz="1100"/>
        </a:p>
      </dgm:t>
    </dgm:pt>
    <dgm:pt modelId="{C52D66DF-3001-4EE5-B38B-544E9E145F44}" type="parTrans" cxnId="{3049841E-2B8D-46D0-A86C-2DCA3D8AD107}">
      <dgm:prSet/>
      <dgm:spPr/>
    </dgm:pt>
    <dgm:pt modelId="{2F529014-1509-469E-94D1-D28AC4CE33BE}" type="sibTrans" cxnId="{3049841E-2B8D-46D0-A86C-2DCA3D8AD107}">
      <dgm:prSet/>
      <dgm:spPr/>
    </dgm:pt>
    <dgm:pt modelId="{C3584046-B722-4E13-B6A5-F1389360AE14}" type="pres">
      <dgm:prSet presAssocID="{4F2DBE24-2887-4222-A5AE-D5DEEAC59DB8}" presName="cycleMatrixDiagram" presStyleCnt="0">
        <dgm:presLayoutVars>
          <dgm:chMax val="1"/>
          <dgm:dir/>
          <dgm:animLvl val="lvl"/>
          <dgm:resizeHandles val="exact"/>
        </dgm:presLayoutVars>
      </dgm:prSet>
      <dgm:spPr/>
    </dgm:pt>
    <dgm:pt modelId="{829AD02D-B49A-43B4-990D-F3FF3C832328}" type="pres">
      <dgm:prSet presAssocID="{4F2DBE24-2887-4222-A5AE-D5DEEAC59DB8}" presName="children" presStyleCnt="0"/>
      <dgm:spPr/>
    </dgm:pt>
    <dgm:pt modelId="{C0CAF9A7-E087-49E5-9ED5-516BFA8C751B}" type="pres">
      <dgm:prSet presAssocID="{4F2DBE24-2887-4222-A5AE-D5DEEAC59DB8}" presName="child1group" presStyleCnt="0"/>
      <dgm:spPr/>
    </dgm:pt>
    <dgm:pt modelId="{7C374625-9C18-4485-84E9-E577472F9799}" type="pres">
      <dgm:prSet presAssocID="{4F2DBE24-2887-4222-A5AE-D5DEEAC59DB8}" presName="child1" presStyleLbl="bgAcc1" presStyleIdx="0" presStyleCnt="4"/>
      <dgm:spPr/>
    </dgm:pt>
    <dgm:pt modelId="{21CA79AD-4FF2-4094-BA3D-69DDF27F2A8C}" type="pres">
      <dgm:prSet presAssocID="{4F2DBE24-2887-4222-A5AE-D5DEEAC59DB8}" presName="child1Text" presStyleLbl="bgAcc1" presStyleIdx="0" presStyleCnt="4">
        <dgm:presLayoutVars>
          <dgm:bulletEnabled val="1"/>
        </dgm:presLayoutVars>
      </dgm:prSet>
      <dgm:spPr/>
    </dgm:pt>
    <dgm:pt modelId="{A7AE4F1D-593F-4FA5-9B4B-5E137583FBAD}" type="pres">
      <dgm:prSet presAssocID="{4F2DBE24-2887-4222-A5AE-D5DEEAC59DB8}" presName="child2group" presStyleCnt="0"/>
      <dgm:spPr/>
    </dgm:pt>
    <dgm:pt modelId="{96CC7801-122E-48B1-B19C-9C8CC11B3E4C}" type="pres">
      <dgm:prSet presAssocID="{4F2DBE24-2887-4222-A5AE-D5DEEAC59DB8}" presName="child2" presStyleLbl="bgAcc1" presStyleIdx="1" presStyleCnt="4"/>
      <dgm:spPr/>
    </dgm:pt>
    <dgm:pt modelId="{E19FA106-47C4-4EF5-904B-8CA17B49E82F}" type="pres">
      <dgm:prSet presAssocID="{4F2DBE24-2887-4222-A5AE-D5DEEAC59DB8}" presName="child2Text" presStyleLbl="bgAcc1" presStyleIdx="1" presStyleCnt="4">
        <dgm:presLayoutVars>
          <dgm:bulletEnabled val="1"/>
        </dgm:presLayoutVars>
      </dgm:prSet>
      <dgm:spPr/>
    </dgm:pt>
    <dgm:pt modelId="{3F9D0A1E-6A86-4300-A334-BCD3B8D9B471}" type="pres">
      <dgm:prSet presAssocID="{4F2DBE24-2887-4222-A5AE-D5DEEAC59DB8}" presName="child3group" presStyleCnt="0"/>
      <dgm:spPr/>
    </dgm:pt>
    <dgm:pt modelId="{1094D8A5-3666-4C38-AB73-36271AB28D28}" type="pres">
      <dgm:prSet presAssocID="{4F2DBE24-2887-4222-A5AE-D5DEEAC59DB8}" presName="child3" presStyleLbl="bgAcc1" presStyleIdx="2" presStyleCnt="4" custScaleX="110000" custScaleY="110000"/>
      <dgm:spPr/>
    </dgm:pt>
    <dgm:pt modelId="{D76B2423-3991-4899-97C3-C48C51CEA902}" type="pres">
      <dgm:prSet presAssocID="{4F2DBE24-2887-4222-A5AE-D5DEEAC59DB8}" presName="child3Text" presStyleLbl="bgAcc1" presStyleIdx="2" presStyleCnt="4">
        <dgm:presLayoutVars>
          <dgm:bulletEnabled val="1"/>
        </dgm:presLayoutVars>
      </dgm:prSet>
      <dgm:spPr/>
    </dgm:pt>
    <dgm:pt modelId="{C6717C43-FE5E-43B7-9951-C294B8063E46}" type="pres">
      <dgm:prSet presAssocID="{4F2DBE24-2887-4222-A5AE-D5DEEAC59DB8}" presName="child4group" presStyleCnt="0"/>
      <dgm:spPr/>
    </dgm:pt>
    <dgm:pt modelId="{FF8018BE-FA4A-414A-9721-9A8B8CF968A2}" type="pres">
      <dgm:prSet presAssocID="{4F2DBE24-2887-4222-A5AE-D5DEEAC59DB8}" presName="child4" presStyleLbl="bgAcc1" presStyleIdx="3" presStyleCnt="4" custScaleX="110000" custScaleY="110000"/>
      <dgm:spPr/>
    </dgm:pt>
    <dgm:pt modelId="{2A211E61-3716-4E95-8C75-CA740D41A878}" type="pres">
      <dgm:prSet presAssocID="{4F2DBE24-2887-4222-A5AE-D5DEEAC59DB8}" presName="child4Text" presStyleLbl="bgAcc1" presStyleIdx="3" presStyleCnt="4">
        <dgm:presLayoutVars>
          <dgm:bulletEnabled val="1"/>
        </dgm:presLayoutVars>
      </dgm:prSet>
      <dgm:spPr/>
    </dgm:pt>
    <dgm:pt modelId="{B7D26B0D-995D-49F3-B8F8-1026D595ECD9}" type="pres">
      <dgm:prSet presAssocID="{4F2DBE24-2887-4222-A5AE-D5DEEAC59DB8}" presName="childPlaceholder" presStyleCnt="0"/>
      <dgm:spPr/>
    </dgm:pt>
    <dgm:pt modelId="{F0692D41-476D-41C3-B753-4BC092FFBDF9}" type="pres">
      <dgm:prSet presAssocID="{4F2DBE24-2887-4222-A5AE-D5DEEAC59DB8}" presName="circle" presStyleCnt="0"/>
      <dgm:spPr/>
    </dgm:pt>
    <dgm:pt modelId="{0BCED1F9-F356-4964-9651-ED878390EE5E}" type="pres">
      <dgm:prSet presAssocID="{4F2DBE24-2887-4222-A5AE-D5DEEAC59DB8}" presName="quadrant1" presStyleLbl="node1" presStyleIdx="0" presStyleCnt="4" custScaleX="82645" custScaleY="82645">
        <dgm:presLayoutVars>
          <dgm:chMax val="1"/>
          <dgm:bulletEnabled val="1"/>
        </dgm:presLayoutVars>
      </dgm:prSet>
      <dgm:spPr/>
    </dgm:pt>
    <dgm:pt modelId="{CC6F9145-ECC0-46B0-BA83-3EEFEAC8B2C3}" type="pres">
      <dgm:prSet presAssocID="{4F2DBE24-2887-4222-A5AE-D5DEEAC59DB8}" presName="quadrant2" presStyleLbl="node1" presStyleIdx="1" presStyleCnt="4" custScaleX="82645" custScaleY="82645">
        <dgm:presLayoutVars>
          <dgm:chMax val="1"/>
          <dgm:bulletEnabled val="1"/>
        </dgm:presLayoutVars>
      </dgm:prSet>
      <dgm:spPr/>
    </dgm:pt>
    <dgm:pt modelId="{F581273E-76BB-4E62-BA20-B08019B152AD}" type="pres">
      <dgm:prSet presAssocID="{4F2DBE24-2887-4222-A5AE-D5DEEAC59DB8}" presName="quadrant3" presStyleLbl="node1" presStyleIdx="2" presStyleCnt="4" custScaleX="82645" custScaleY="82645">
        <dgm:presLayoutVars>
          <dgm:chMax val="1"/>
          <dgm:bulletEnabled val="1"/>
        </dgm:presLayoutVars>
      </dgm:prSet>
      <dgm:spPr/>
    </dgm:pt>
    <dgm:pt modelId="{E00399FD-169A-4FC6-8E9C-0E03C2F4D42E}" type="pres">
      <dgm:prSet presAssocID="{4F2DBE24-2887-4222-A5AE-D5DEEAC59DB8}" presName="quadrant4" presStyleLbl="node1" presStyleIdx="3" presStyleCnt="4" custScaleX="82645" custScaleY="82645">
        <dgm:presLayoutVars>
          <dgm:chMax val="1"/>
          <dgm:bulletEnabled val="1"/>
        </dgm:presLayoutVars>
      </dgm:prSet>
      <dgm:spPr/>
    </dgm:pt>
    <dgm:pt modelId="{A196009E-5C9C-47E1-B27B-38367DE29564}" type="pres">
      <dgm:prSet presAssocID="{4F2DBE24-2887-4222-A5AE-D5DEEAC59DB8}" presName="quadrantPlaceholder" presStyleCnt="0"/>
      <dgm:spPr/>
    </dgm:pt>
    <dgm:pt modelId="{71F40A36-EF24-4671-A961-B4967E5342D0}" type="pres">
      <dgm:prSet presAssocID="{4F2DBE24-2887-4222-A5AE-D5DEEAC59DB8}" presName="center1" presStyleLbl="fgShp" presStyleIdx="0" presStyleCnt="2"/>
      <dgm:spPr/>
    </dgm:pt>
    <dgm:pt modelId="{132A54E5-1B8E-4157-BE4F-5D1479C2EDDA}" type="pres">
      <dgm:prSet presAssocID="{4F2DBE24-2887-4222-A5AE-D5DEEAC59DB8}" presName="center2" presStyleLbl="fgShp" presStyleIdx="1" presStyleCnt="2"/>
      <dgm:spPr/>
    </dgm:pt>
  </dgm:ptLst>
  <dgm:cxnLst>
    <dgm:cxn modelId="{47F41209-1341-4515-BED7-0A4BE4005861}" type="presOf" srcId="{D7131CED-61FF-4340-8EA2-4BA3E025D17F}" destId="{D76B2423-3991-4899-97C3-C48C51CEA902}" srcOrd="1" destOrd="1" presId="urn:microsoft.com/office/officeart/2005/8/layout/cycle4"/>
    <dgm:cxn modelId="{BE007B13-079C-463E-9759-A569439D02E5}" type="presOf" srcId="{DE1B2A21-28B6-41E6-93E5-589D88A27D40}" destId="{21CA79AD-4FF2-4094-BA3D-69DDF27F2A8C}" srcOrd="1" destOrd="0" presId="urn:microsoft.com/office/officeart/2005/8/layout/cycle4"/>
    <dgm:cxn modelId="{FFE1FF14-9F18-4EFE-811A-0E500B6E7152}" type="presOf" srcId="{3FFFAB8C-EAA6-4F96-AF82-521148DE9629}" destId="{1094D8A5-3666-4C38-AB73-36271AB28D28}" srcOrd="0" destOrd="0" presId="urn:microsoft.com/office/officeart/2005/8/layout/cycle4"/>
    <dgm:cxn modelId="{7E10801C-1124-4CEC-AE4A-BF9BFE692546}" srcId="{4F2DBE24-2887-4222-A5AE-D5DEEAC59DB8}" destId="{8BA4A30F-CD7C-4043-9996-16B9F34A0C25}" srcOrd="2" destOrd="0" parTransId="{EDC105B9-77AF-43FD-BD3E-B740838CB991}" sibTransId="{B4436F83-5926-4890-90C1-9896BF2B53E5}"/>
    <dgm:cxn modelId="{3049841E-2B8D-46D0-A86C-2DCA3D8AD107}" srcId="{BD565BF3-BD61-410E-A520-98843F2CC73C}" destId="{DE1B2A21-28B6-41E6-93E5-589D88A27D40}" srcOrd="0" destOrd="0" parTransId="{C52D66DF-3001-4EE5-B38B-544E9E145F44}" sibTransId="{2F529014-1509-469E-94D1-D28AC4CE33BE}"/>
    <dgm:cxn modelId="{150CF936-122C-41B2-AEAF-440B86EED3FA}" type="presOf" srcId="{4F2DBE24-2887-4222-A5AE-D5DEEAC59DB8}" destId="{C3584046-B722-4E13-B6A5-F1389360AE14}" srcOrd="0" destOrd="0" presId="urn:microsoft.com/office/officeart/2005/8/layout/cycle4"/>
    <dgm:cxn modelId="{74913139-27A9-4F6F-AFE7-9EC87349DD72}" type="presOf" srcId="{C9FC77E1-7348-4AC0-82A5-09E47E0BFEDE}" destId="{E00399FD-169A-4FC6-8E9C-0E03C2F4D42E}" srcOrd="0" destOrd="0" presId="urn:microsoft.com/office/officeart/2005/8/layout/cycle4"/>
    <dgm:cxn modelId="{06A78C73-9D01-44CC-BC02-AC870CDD5403}" srcId="{8BA4A30F-CD7C-4043-9996-16B9F34A0C25}" destId="{D7131CED-61FF-4340-8EA2-4BA3E025D17F}" srcOrd="1" destOrd="0" parTransId="{D829485F-0A8D-4358-9DF7-B2E3CE4458F8}" sibTransId="{2324E80F-52ED-4C48-92E3-5885259C17D5}"/>
    <dgm:cxn modelId="{FBCE8A58-2620-4557-B2C3-24310BA66E21}" srcId="{4F2DBE24-2887-4222-A5AE-D5DEEAC59DB8}" destId="{39F4DD28-CD04-4644-8612-51A31DFDA8D5}" srcOrd="1" destOrd="0" parTransId="{54C5610E-DD60-41B7-AD04-97675009C68F}" sibTransId="{175CFB1E-C344-4F0A-850E-50CDA35C7BA1}"/>
    <dgm:cxn modelId="{B40E6B7C-FFDE-496E-945E-F6D72AAE5ACC}" type="presOf" srcId="{BB4AF629-9864-490E-AD72-F8422AB58D4D}" destId="{2A211E61-3716-4E95-8C75-CA740D41A878}" srcOrd="1" destOrd="0" presId="urn:microsoft.com/office/officeart/2005/8/layout/cycle4"/>
    <dgm:cxn modelId="{B446197E-41C6-437D-A582-F129AA587A58}" type="presOf" srcId="{D7131CED-61FF-4340-8EA2-4BA3E025D17F}" destId="{1094D8A5-3666-4C38-AB73-36271AB28D28}" srcOrd="0" destOrd="1" presId="urn:microsoft.com/office/officeart/2005/8/layout/cycle4"/>
    <dgm:cxn modelId="{DF816B7F-6B64-4299-9EAC-B2470832D60E}" type="presOf" srcId="{3FFFAB8C-EAA6-4F96-AF82-521148DE9629}" destId="{D76B2423-3991-4899-97C3-C48C51CEA902}" srcOrd="1" destOrd="0" presId="urn:microsoft.com/office/officeart/2005/8/layout/cycle4"/>
    <dgm:cxn modelId="{2B44DC8A-85CE-4A90-B8A1-2C4E117A9827}" type="presOf" srcId="{54D1C429-DA29-4E98-B650-340E3B153677}" destId="{E19FA106-47C4-4EF5-904B-8CA17B49E82F}" srcOrd="1" destOrd="1" presId="urn:microsoft.com/office/officeart/2005/8/layout/cycle4"/>
    <dgm:cxn modelId="{8FC77A99-EBF2-4FF5-8F77-1A9412013AC8}" type="presOf" srcId="{DE1B2A21-28B6-41E6-93E5-589D88A27D40}" destId="{7C374625-9C18-4485-84E9-E577472F9799}" srcOrd="0" destOrd="0" presId="urn:microsoft.com/office/officeart/2005/8/layout/cycle4"/>
    <dgm:cxn modelId="{318F239A-72BD-49C2-B6F2-2C5D72BA84EE}" srcId="{4F2DBE24-2887-4222-A5AE-D5DEEAC59DB8}" destId="{C9FC77E1-7348-4AC0-82A5-09E47E0BFEDE}" srcOrd="3" destOrd="0" parTransId="{938A678E-7966-417F-ACB7-EFA13298A0C1}" sibTransId="{AA5D68A2-A374-46BE-BC06-A21CB526D399}"/>
    <dgm:cxn modelId="{1517329F-E9A4-458A-9A78-F7FC25787953}" srcId="{39F4DD28-CD04-4644-8612-51A31DFDA8D5}" destId="{EA9145C4-EE61-465A-AE39-440901E72FEA}" srcOrd="0" destOrd="0" parTransId="{69A5E637-0337-48D1-AD7A-07ECE822916D}" sibTransId="{DD1A559E-4C32-4FE3-B30D-71951DC61613}"/>
    <dgm:cxn modelId="{FA6985A1-C7D7-4A4D-8E3D-19C0A8081F73}" type="presOf" srcId="{BB4AF629-9864-490E-AD72-F8422AB58D4D}" destId="{FF8018BE-FA4A-414A-9721-9A8B8CF968A2}" srcOrd="0" destOrd="0" presId="urn:microsoft.com/office/officeart/2005/8/layout/cycle4"/>
    <dgm:cxn modelId="{40EB67B9-3CBA-43B6-8171-FD061CE0B400}" type="presOf" srcId="{8BA4A30F-CD7C-4043-9996-16B9F34A0C25}" destId="{F581273E-76BB-4E62-BA20-B08019B152AD}" srcOrd="0" destOrd="0" presId="urn:microsoft.com/office/officeart/2005/8/layout/cycle4"/>
    <dgm:cxn modelId="{38BCDFBD-36BB-4028-A3B7-C5219D08AE13}" type="presOf" srcId="{BD565BF3-BD61-410E-A520-98843F2CC73C}" destId="{0BCED1F9-F356-4964-9651-ED878390EE5E}" srcOrd="0" destOrd="0" presId="urn:microsoft.com/office/officeart/2005/8/layout/cycle4"/>
    <dgm:cxn modelId="{F3A9D5C4-2FA6-44B3-85B5-613B04D0520D}" srcId="{8BA4A30F-CD7C-4043-9996-16B9F34A0C25}" destId="{3FFFAB8C-EAA6-4F96-AF82-521148DE9629}" srcOrd="0" destOrd="0" parTransId="{929ADC78-69BA-4241-8923-A377E2EABDEC}" sibTransId="{8846CDDC-3B60-4095-99B8-AF1CE4317EBD}"/>
    <dgm:cxn modelId="{ADE5FAC4-2885-4FAF-A9A5-EB6B67515B97}" type="presOf" srcId="{39F4DD28-CD04-4644-8612-51A31DFDA8D5}" destId="{CC6F9145-ECC0-46B0-BA83-3EEFEAC8B2C3}" srcOrd="0" destOrd="0" presId="urn:microsoft.com/office/officeart/2005/8/layout/cycle4"/>
    <dgm:cxn modelId="{5F3E67C6-1C1A-4667-A3B5-2124345B6F27}" type="presOf" srcId="{EA9145C4-EE61-465A-AE39-440901E72FEA}" destId="{96CC7801-122E-48B1-B19C-9C8CC11B3E4C}" srcOrd="0" destOrd="0" presId="urn:microsoft.com/office/officeart/2005/8/layout/cycle4"/>
    <dgm:cxn modelId="{CD7B46CC-BFB4-414F-A588-68E11969354C}" type="presOf" srcId="{EA9145C4-EE61-465A-AE39-440901E72FEA}" destId="{E19FA106-47C4-4EF5-904B-8CA17B49E82F}" srcOrd="1" destOrd="0" presId="urn:microsoft.com/office/officeart/2005/8/layout/cycle4"/>
    <dgm:cxn modelId="{EB26BAD4-FCC8-4CE6-873E-8A9B9A6FA5AF}" srcId="{39F4DD28-CD04-4644-8612-51A31DFDA8D5}" destId="{54D1C429-DA29-4E98-B650-340E3B153677}" srcOrd="1" destOrd="0" parTransId="{D10B1558-C963-4BE5-9871-E6EC9DA7286D}" sibTransId="{EBE01A68-4F76-4EBB-818D-E640B05260A0}"/>
    <dgm:cxn modelId="{9C6CF2F0-CE1A-4437-ABF9-DAAFD01231C5}" srcId="{C9FC77E1-7348-4AC0-82A5-09E47E0BFEDE}" destId="{BB4AF629-9864-490E-AD72-F8422AB58D4D}" srcOrd="0" destOrd="0" parTransId="{46C45D97-DA72-4194-846E-1A1F53E49EB4}" sibTransId="{52A37264-BADA-4A72-91D3-E4490E730676}"/>
    <dgm:cxn modelId="{6275CDF8-6694-4703-9C38-8AFFE6934798}" srcId="{4F2DBE24-2887-4222-A5AE-D5DEEAC59DB8}" destId="{BD565BF3-BD61-410E-A520-98843F2CC73C}" srcOrd="0" destOrd="0" parTransId="{837B49D8-C0F3-490B-ACBB-6B8A46BD2709}" sibTransId="{2BBBAE99-CD21-41B6-8D92-53F9BCCB46FE}"/>
    <dgm:cxn modelId="{10C36FFD-7097-4DAC-900F-7596E6237B4D}" type="presOf" srcId="{54D1C429-DA29-4E98-B650-340E3B153677}" destId="{96CC7801-122E-48B1-B19C-9C8CC11B3E4C}" srcOrd="0" destOrd="1" presId="urn:microsoft.com/office/officeart/2005/8/layout/cycle4"/>
    <dgm:cxn modelId="{B486E19B-AE8B-4017-8C61-37508248DCE8}" type="presParOf" srcId="{C3584046-B722-4E13-B6A5-F1389360AE14}" destId="{829AD02D-B49A-43B4-990D-F3FF3C832328}" srcOrd="0" destOrd="0" presId="urn:microsoft.com/office/officeart/2005/8/layout/cycle4"/>
    <dgm:cxn modelId="{DA46A9AF-B7C7-4EC5-B631-A9638BE1D0C8}" type="presParOf" srcId="{829AD02D-B49A-43B4-990D-F3FF3C832328}" destId="{C0CAF9A7-E087-49E5-9ED5-516BFA8C751B}" srcOrd="0" destOrd="0" presId="urn:microsoft.com/office/officeart/2005/8/layout/cycle4"/>
    <dgm:cxn modelId="{F70AAE41-8520-4312-8CC4-27E6F81C34A7}" type="presParOf" srcId="{C0CAF9A7-E087-49E5-9ED5-516BFA8C751B}" destId="{7C374625-9C18-4485-84E9-E577472F9799}" srcOrd="0" destOrd="0" presId="urn:microsoft.com/office/officeart/2005/8/layout/cycle4"/>
    <dgm:cxn modelId="{D86BE513-F508-4697-B21C-968ABBF722A4}" type="presParOf" srcId="{C0CAF9A7-E087-49E5-9ED5-516BFA8C751B}" destId="{21CA79AD-4FF2-4094-BA3D-69DDF27F2A8C}" srcOrd="1" destOrd="0" presId="urn:microsoft.com/office/officeart/2005/8/layout/cycle4"/>
    <dgm:cxn modelId="{A385C75B-67F4-499E-B348-58F5A200E777}" type="presParOf" srcId="{829AD02D-B49A-43B4-990D-F3FF3C832328}" destId="{A7AE4F1D-593F-4FA5-9B4B-5E137583FBAD}" srcOrd="1" destOrd="0" presId="urn:microsoft.com/office/officeart/2005/8/layout/cycle4"/>
    <dgm:cxn modelId="{6E6D578C-09A5-45AD-AC34-AD31E803B560}" type="presParOf" srcId="{A7AE4F1D-593F-4FA5-9B4B-5E137583FBAD}" destId="{96CC7801-122E-48B1-B19C-9C8CC11B3E4C}" srcOrd="0" destOrd="0" presId="urn:microsoft.com/office/officeart/2005/8/layout/cycle4"/>
    <dgm:cxn modelId="{AB358E0A-DEBB-4BAF-A1E9-651FC9695DC3}" type="presParOf" srcId="{A7AE4F1D-593F-4FA5-9B4B-5E137583FBAD}" destId="{E19FA106-47C4-4EF5-904B-8CA17B49E82F}" srcOrd="1" destOrd="0" presId="urn:microsoft.com/office/officeart/2005/8/layout/cycle4"/>
    <dgm:cxn modelId="{1610220E-879C-43E0-8B9E-46C71031DE2E}" type="presParOf" srcId="{829AD02D-B49A-43B4-990D-F3FF3C832328}" destId="{3F9D0A1E-6A86-4300-A334-BCD3B8D9B471}" srcOrd="2" destOrd="0" presId="urn:microsoft.com/office/officeart/2005/8/layout/cycle4"/>
    <dgm:cxn modelId="{764389FF-3325-457F-BB65-43296992F6F8}" type="presParOf" srcId="{3F9D0A1E-6A86-4300-A334-BCD3B8D9B471}" destId="{1094D8A5-3666-4C38-AB73-36271AB28D28}" srcOrd="0" destOrd="0" presId="urn:microsoft.com/office/officeart/2005/8/layout/cycle4"/>
    <dgm:cxn modelId="{E61109D2-4DB7-41B5-AE16-686C1E4C26C5}" type="presParOf" srcId="{3F9D0A1E-6A86-4300-A334-BCD3B8D9B471}" destId="{D76B2423-3991-4899-97C3-C48C51CEA902}" srcOrd="1" destOrd="0" presId="urn:microsoft.com/office/officeart/2005/8/layout/cycle4"/>
    <dgm:cxn modelId="{1BCE48AC-CEF6-4F50-9F87-AD369B8100B1}" type="presParOf" srcId="{829AD02D-B49A-43B4-990D-F3FF3C832328}" destId="{C6717C43-FE5E-43B7-9951-C294B8063E46}" srcOrd="3" destOrd="0" presId="urn:microsoft.com/office/officeart/2005/8/layout/cycle4"/>
    <dgm:cxn modelId="{197A701A-703E-49A9-BBE8-F6D84673CB3C}" type="presParOf" srcId="{C6717C43-FE5E-43B7-9951-C294B8063E46}" destId="{FF8018BE-FA4A-414A-9721-9A8B8CF968A2}" srcOrd="0" destOrd="0" presId="urn:microsoft.com/office/officeart/2005/8/layout/cycle4"/>
    <dgm:cxn modelId="{B36B8C43-325E-463C-BF42-DAD7F09946A3}" type="presParOf" srcId="{C6717C43-FE5E-43B7-9951-C294B8063E46}" destId="{2A211E61-3716-4E95-8C75-CA740D41A878}" srcOrd="1" destOrd="0" presId="urn:microsoft.com/office/officeart/2005/8/layout/cycle4"/>
    <dgm:cxn modelId="{0BB953A7-3D75-4AE2-BC0B-1A2B29E04A1C}" type="presParOf" srcId="{829AD02D-B49A-43B4-990D-F3FF3C832328}" destId="{B7D26B0D-995D-49F3-B8F8-1026D595ECD9}" srcOrd="4" destOrd="0" presId="urn:microsoft.com/office/officeart/2005/8/layout/cycle4"/>
    <dgm:cxn modelId="{F9F494A5-4CB2-42DD-B322-6EE432DC6285}" type="presParOf" srcId="{C3584046-B722-4E13-B6A5-F1389360AE14}" destId="{F0692D41-476D-41C3-B753-4BC092FFBDF9}" srcOrd="1" destOrd="0" presId="urn:microsoft.com/office/officeart/2005/8/layout/cycle4"/>
    <dgm:cxn modelId="{62A5D438-42B3-461E-9BA7-D0CEF1B2F729}" type="presParOf" srcId="{F0692D41-476D-41C3-B753-4BC092FFBDF9}" destId="{0BCED1F9-F356-4964-9651-ED878390EE5E}" srcOrd="0" destOrd="0" presId="urn:microsoft.com/office/officeart/2005/8/layout/cycle4"/>
    <dgm:cxn modelId="{A8B41268-706D-4F8A-8D1D-2E6C3509B044}" type="presParOf" srcId="{F0692D41-476D-41C3-B753-4BC092FFBDF9}" destId="{CC6F9145-ECC0-46B0-BA83-3EEFEAC8B2C3}" srcOrd="1" destOrd="0" presId="urn:microsoft.com/office/officeart/2005/8/layout/cycle4"/>
    <dgm:cxn modelId="{0B0DECE4-F0B0-4688-9FA0-5CAFD1A610AF}" type="presParOf" srcId="{F0692D41-476D-41C3-B753-4BC092FFBDF9}" destId="{F581273E-76BB-4E62-BA20-B08019B152AD}" srcOrd="2" destOrd="0" presId="urn:microsoft.com/office/officeart/2005/8/layout/cycle4"/>
    <dgm:cxn modelId="{502D9DBD-4B98-417A-AE33-7C50F0508C8F}" type="presParOf" srcId="{F0692D41-476D-41C3-B753-4BC092FFBDF9}" destId="{E00399FD-169A-4FC6-8E9C-0E03C2F4D42E}" srcOrd="3" destOrd="0" presId="urn:microsoft.com/office/officeart/2005/8/layout/cycle4"/>
    <dgm:cxn modelId="{4725EED3-F36F-4CE5-82A6-2DBCECFDCDD3}" type="presParOf" srcId="{F0692D41-476D-41C3-B753-4BC092FFBDF9}" destId="{A196009E-5C9C-47E1-B27B-38367DE29564}" srcOrd="4" destOrd="0" presId="urn:microsoft.com/office/officeart/2005/8/layout/cycle4"/>
    <dgm:cxn modelId="{56D19B6B-2D35-4498-9DB9-A82CCF9E5002}" type="presParOf" srcId="{C3584046-B722-4E13-B6A5-F1389360AE14}" destId="{71F40A36-EF24-4671-A961-B4967E5342D0}" srcOrd="2" destOrd="0" presId="urn:microsoft.com/office/officeart/2005/8/layout/cycle4"/>
    <dgm:cxn modelId="{4EAEFCBB-5441-4888-9C57-ED71F2EE9FE9}" type="presParOf" srcId="{C3584046-B722-4E13-B6A5-F1389360AE14}" destId="{132A54E5-1B8E-4157-BE4F-5D1479C2EDDA}"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94D8A5-3666-4C38-AB73-36271AB28D28}">
      <dsp:nvSpPr>
        <dsp:cNvPr id="0" name=""/>
        <dsp:cNvSpPr/>
      </dsp:nvSpPr>
      <dsp:spPr>
        <a:xfrm>
          <a:off x="4651023" y="2679987"/>
          <a:ext cx="2205687" cy="142878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57150" lvl="1" indent="-57150" algn="l" defTabSz="488950" rtl="0">
            <a:lnSpc>
              <a:spcPct val="90000"/>
            </a:lnSpc>
            <a:spcBef>
              <a:spcPct val="0"/>
            </a:spcBef>
            <a:spcAft>
              <a:spcPct val="15000"/>
            </a:spcAft>
            <a:buChar char="•"/>
          </a:pPr>
          <a:r>
            <a:rPr lang="en-GB" sz="1100" kern="1200">
              <a:latin typeface="Arial"/>
            </a:rPr>
            <a:t> </a:t>
          </a:r>
          <a:r>
            <a:rPr lang="en-GB" sz="1100" kern="1200"/>
            <a:t>Feedback to </a:t>
          </a:r>
          <a:r>
            <a:rPr lang="en-GB" sz="1100" kern="1200">
              <a:latin typeface="Arial"/>
            </a:rPr>
            <a:t>managing</a:t>
          </a:r>
          <a:r>
            <a:rPr lang="en-GB" sz="1100" kern="1200"/>
            <a:t> </a:t>
          </a:r>
          <a:r>
            <a:rPr lang="en-GB" sz="1100" kern="1200">
              <a:latin typeface="Arial"/>
            </a:rPr>
            <a:t>agents of maturity ratings</a:t>
          </a:r>
          <a:endParaRPr lang="en-US" sz="1100" kern="1200"/>
        </a:p>
        <a:p>
          <a:pPr marL="57150" lvl="1" indent="-57150" algn="l" defTabSz="488950" rtl="0">
            <a:lnSpc>
              <a:spcPct val="90000"/>
            </a:lnSpc>
            <a:spcBef>
              <a:spcPct val="0"/>
            </a:spcBef>
            <a:spcAft>
              <a:spcPct val="15000"/>
            </a:spcAft>
            <a:buChar char="•"/>
          </a:pPr>
          <a:r>
            <a:rPr lang="en-GB" sz="1100" kern="1200">
              <a:latin typeface="Arial"/>
            </a:rPr>
            <a:t>'Lockdown'</a:t>
          </a:r>
          <a:r>
            <a:rPr lang="en-GB" sz="1100" kern="1200"/>
            <a:t> of</a:t>
          </a:r>
          <a:r>
            <a:rPr lang="en-GB" sz="1100" kern="1200">
              <a:latin typeface="Arial"/>
            </a:rPr>
            <a:t> ratings</a:t>
          </a:r>
          <a:r>
            <a:rPr lang="en-GB" sz="1100" kern="1200"/>
            <a:t> for Business Planning</a:t>
          </a:r>
        </a:p>
      </dsp:txBody>
      <dsp:txXfrm>
        <a:off x="5344115" y="3068569"/>
        <a:ext cx="1481209" cy="1008816"/>
      </dsp:txXfrm>
    </dsp:sp>
    <dsp:sp modelId="{FF8018BE-FA4A-414A-9721-9A8B8CF968A2}">
      <dsp:nvSpPr>
        <dsp:cNvPr id="0" name=""/>
        <dsp:cNvSpPr/>
      </dsp:nvSpPr>
      <dsp:spPr>
        <a:xfrm>
          <a:off x="1379429" y="2679987"/>
          <a:ext cx="2205687" cy="142878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57150" lvl="1" indent="-57150" algn="l" defTabSz="488950" rtl="0">
            <a:lnSpc>
              <a:spcPct val="90000"/>
            </a:lnSpc>
            <a:spcBef>
              <a:spcPct val="0"/>
            </a:spcBef>
            <a:spcAft>
              <a:spcPct val="15000"/>
            </a:spcAft>
            <a:buChar char="•"/>
          </a:pPr>
          <a:r>
            <a:rPr lang="en-GB" sz="1100" kern="1200"/>
            <a:t>Principles used to support Business Planning process</a:t>
          </a:r>
        </a:p>
      </dsp:txBody>
      <dsp:txXfrm>
        <a:off x="1410815" y="3068569"/>
        <a:ext cx="1481209" cy="1008816"/>
      </dsp:txXfrm>
    </dsp:sp>
    <dsp:sp modelId="{96CC7801-122E-48B1-B19C-9C8CC11B3E4C}">
      <dsp:nvSpPr>
        <dsp:cNvPr id="0" name=""/>
        <dsp:cNvSpPr/>
      </dsp:nvSpPr>
      <dsp:spPr>
        <a:xfrm>
          <a:off x="4751281" y="-15221"/>
          <a:ext cx="2005170" cy="12988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57150" lvl="1" indent="-57150" algn="l" defTabSz="488950" rtl="0">
            <a:lnSpc>
              <a:spcPct val="90000"/>
            </a:lnSpc>
            <a:spcBef>
              <a:spcPct val="0"/>
            </a:spcBef>
            <a:spcAft>
              <a:spcPct val="15000"/>
            </a:spcAft>
            <a:buChar char="•"/>
          </a:pPr>
          <a:r>
            <a:rPr lang="en-GB" sz="1100" kern="1200">
              <a:latin typeface="Arial"/>
            </a:rPr>
            <a:t>Maturity self</a:t>
          </a:r>
          <a:r>
            <a:rPr lang="en-GB" sz="1100" kern="1200"/>
            <a:t> </a:t>
          </a:r>
          <a:r>
            <a:rPr lang="en-GB" sz="1100" kern="1200">
              <a:latin typeface="Arial"/>
            </a:rPr>
            <a:t>assessment submissions</a:t>
          </a:r>
          <a:endParaRPr lang="en-GB" sz="1100" kern="1200"/>
        </a:p>
        <a:p>
          <a:pPr marL="57150" lvl="1" indent="-57150" algn="l" defTabSz="488950" rtl="0">
            <a:lnSpc>
              <a:spcPct val="90000"/>
            </a:lnSpc>
            <a:spcBef>
              <a:spcPct val="0"/>
            </a:spcBef>
            <a:spcAft>
              <a:spcPct val="15000"/>
            </a:spcAft>
            <a:buChar char="•"/>
          </a:pPr>
          <a:endParaRPr lang="en-GB" sz="1100" kern="1200"/>
        </a:p>
      </dsp:txBody>
      <dsp:txXfrm>
        <a:off x="5381364" y="13311"/>
        <a:ext cx="1346555" cy="917107"/>
      </dsp:txXfrm>
    </dsp:sp>
    <dsp:sp modelId="{7C374625-9C18-4485-84E9-E577472F9799}">
      <dsp:nvSpPr>
        <dsp:cNvPr id="0" name=""/>
        <dsp:cNvSpPr/>
      </dsp:nvSpPr>
      <dsp:spPr>
        <a:xfrm>
          <a:off x="1479688" y="-15221"/>
          <a:ext cx="2005170" cy="12988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57150" lvl="1" indent="-57150" algn="l" defTabSz="488950">
            <a:lnSpc>
              <a:spcPct val="90000"/>
            </a:lnSpc>
            <a:spcBef>
              <a:spcPct val="0"/>
            </a:spcBef>
            <a:spcAft>
              <a:spcPct val="15000"/>
            </a:spcAft>
            <a:buChar char="•"/>
          </a:pPr>
          <a:r>
            <a:rPr lang="en-GB" sz="1100" kern="1200">
              <a:latin typeface="Arial"/>
            </a:rPr>
            <a:t>Updates</a:t>
          </a:r>
          <a:r>
            <a:rPr lang="en-GB" sz="1100" kern="1200"/>
            <a:t> to framework defined and communicated for following year</a:t>
          </a:r>
          <a:endParaRPr lang="en-US" sz="1100" kern="1200"/>
        </a:p>
      </dsp:txBody>
      <dsp:txXfrm>
        <a:off x="1508220" y="13311"/>
        <a:ext cx="1346555" cy="917107"/>
      </dsp:txXfrm>
    </dsp:sp>
    <dsp:sp modelId="{0BCED1F9-F356-4964-9651-ED878390EE5E}">
      <dsp:nvSpPr>
        <dsp:cNvPr id="0" name=""/>
        <dsp:cNvSpPr/>
      </dsp:nvSpPr>
      <dsp:spPr>
        <a:xfrm>
          <a:off x="2472424" y="401129"/>
          <a:ext cx="1452542" cy="145254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GB" sz="3200" kern="1200"/>
            <a:t>Q4</a:t>
          </a:r>
        </a:p>
      </dsp:txBody>
      <dsp:txXfrm>
        <a:off x="2897864" y="826569"/>
        <a:ext cx="1027102" cy="1027102"/>
      </dsp:txXfrm>
    </dsp:sp>
    <dsp:sp modelId="{CC6F9145-ECC0-46B0-BA83-3EEFEAC8B2C3}">
      <dsp:nvSpPr>
        <dsp:cNvPr id="0" name=""/>
        <dsp:cNvSpPr/>
      </dsp:nvSpPr>
      <dsp:spPr>
        <a:xfrm rot="5400000">
          <a:off x="4311173" y="401129"/>
          <a:ext cx="1452542" cy="145254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GB" sz="3200" kern="1200"/>
            <a:t>Q1</a:t>
          </a:r>
        </a:p>
      </dsp:txBody>
      <dsp:txXfrm rot="-5400000">
        <a:off x="4311173" y="826569"/>
        <a:ext cx="1027102" cy="1027102"/>
      </dsp:txXfrm>
    </dsp:sp>
    <dsp:sp modelId="{F581273E-76BB-4E62-BA20-B08019B152AD}">
      <dsp:nvSpPr>
        <dsp:cNvPr id="0" name=""/>
        <dsp:cNvSpPr/>
      </dsp:nvSpPr>
      <dsp:spPr>
        <a:xfrm rot="10800000">
          <a:off x="4311173" y="2239878"/>
          <a:ext cx="1452542" cy="145254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GB" sz="3200" kern="1200"/>
            <a:t>Q2</a:t>
          </a:r>
        </a:p>
      </dsp:txBody>
      <dsp:txXfrm rot="10800000">
        <a:off x="4311173" y="2239878"/>
        <a:ext cx="1027102" cy="1027102"/>
      </dsp:txXfrm>
    </dsp:sp>
    <dsp:sp modelId="{E00399FD-169A-4FC6-8E9C-0E03C2F4D42E}">
      <dsp:nvSpPr>
        <dsp:cNvPr id="0" name=""/>
        <dsp:cNvSpPr/>
      </dsp:nvSpPr>
      <dsp:spPr>
        <a:xfrm rot="16200000">
          <a:off x="2472424" y="2239878"/>
          <a:ext cx="1452542" cy="1452542"/>
        </a:xfrm>
        <a:prstGeom prst="pieWedg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GB" sz="3200" kern="1200"/>
            <a:t>Q3</a:t>
          </a:r>
        </a:p>
      </dsp:txBody>
      <dsp:txXfrm rot="5400000">
        <a:off x="2897864" y="2239878"/>
        <a:ext cx="1027102" cy="1027102"/>
      </dsp:txXfrm>
    </dsp:sp>
    <dsp:sp modelId="{71F40A36-EF24-4671-A961-B4967E5342D0}">
      <dsp:nvSpPr>
        <dsp:cNvPr id="0" name=""/>
        <dsp:cNvSpPr/>
      </dsp:nvSpPr>
      <dsp:spPr>
        <a:xfrm>
          <a:off x="3814656" y="1681461"/>
          <a:ext cx="606827" cy="527676"/>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2A54E5-1B8E-4157-BE4F-5D1479C2EDDA}">
      <dsp:nvSpPr>
        <dsp:cNvPr id="0" name=""/>
        <dsp:cNvSpPr/>
      </dsp:nvSpPr>
      <dsp:spPr>
        <a:xfrm rot="10800000">
          <a:off x="3814656" y="1884413"/>
          <a:ext cx="606827" cy="527676"/>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3" name="Date Placeholder 2"/>
          <p:cNvSpPr>
            <a:spLocks noGrp="1"/>
          </p:cNvSpPr>
          <p:nvPr>
            <p:ph type="dt" sz="quarter" idx="1"/>
          </p:nvPr>
        </p:nvSpPr>
        <p:spPr>
          <a:xfrm>
            <a:off x="5924748" y="0"/>
            <a:ext cx="931665" cy="276999"/>
          </a:xfrm>
          <a:prstGeom prst="rect">
            <a:avLst/>
          </a:prstGeom>
        </p:spPr>
        <p:txBody>
          <a:bodyPr vert="horz" wrap="none" lIns="91440" tIns="45720" rIns="91440" bIns="45720" rtlCol="0">
            <a:spAutoFit/>
          </a:bodyPr>
          <a:lstStyle>
            <a:lvl1pPr algn="r">
              <a:defRPr sz="1200"/>
            </a:lvl1pPr>
          </a:lstStyle>
          <a:p>
            <a:fld id="{3FEF8E6F-256A-4BDC-8BE6-E3D13430BDFA}" type="datetimeFigureOut">
              <a:rPr lang="en-GB" smtClean="0"/>
              <a:t>25/02/2022</a:t>
            </a:fld>
            <a:endParaRPr lang="en-GB"/>
          </a:p>
        </p:txBody>
      </p:sp>
      <p:sp>
        <p:nvSpPr>
          <p:cNvPr id="4" name="Footer Placeholder 3"/>
          <p:cNvSpPr>
            <a:spLocks noGrp="1"/>
          </p:cNvSpPr>
          <p:nvPr>
            <p:ph type="ftr" sz="quarter" idx="2"/>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5" name="Slide Number Placeholder 4"/>
          <p:cNvSpPr>
            <a:spLocks noGrp="1"/>
          </p:cNvSpPr>
          <p:nvPr>
            <p:ph type="sldNum" sz="quarter" idx="3"/>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8DE38726-FE2B-4107-A90C-F811A567A191}" type="slidenum">
              <a:rPr lang="en-GB" smtClean="0"/>
              <a:t>‹#›</a:t>
            </a:fld>
            <a:endParaRPr lang="en-GB"/>
          </a:p>
        </p:txBody>
      </p:sp>
    </p:spTree>
    <p:extLst>
      <p:ext uri="{BB962C8B-B14F-4D97-AF65-F5344CB8AC3E}">
        <p14:creationId xmlns:p14="http://schemas.microsoft.com/office/powerpoint/2010/main" val="7110797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184731" cy="276999"/>
          </a:xfrm>
          <a:prstGeom prst="rect">
            <a:avLst/>
          </a:prstGeom>
        </p:spPr>
        <p:txBody>
          <a:bodyPr vert="horz" wrap="none" lIns="91440" tIns="45720" rIns="91440" bIns="45720" rtlCol="0">
            <a:spAutoFit/>
          </a:bodyPr>
          <a:lstStyle>
            <a:lvl1pPr algn="l">
              <a:defRPr sz="1200"/>
            </a:lvl1pPr>
          </a:lstStyle>
          <a:p>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6" name="Footer Placeholder 5"/>
          <p:cNvSpPr>
            <a:spLocks noGrp="1"/>
          </p:cNvSpPr>
          <p:nvPr>
            <p:ph type="ftr" sz="quarter" idx="4"/>
          </p:nvPr>
        </p:nvSpPr>
        <p:spPr>
          <a:xfrm>
            <a:off x="0" y="8867001"/>
            <a:ext cx="184731" cy="276999"/>
          </a:xfrm>
          <a:prstGeom prst="rect">
            <a:avLst/>
          </a:prstGeom>
        </p:spPr>
        <p:txBody>
          <a:bodyPr vert="horz" wrap="none" lIns="91440" tIns="45720" rIns="91440" bIns="45720" rtlCol="0" anchor="b">
            <a:spAutoFit/>
          </a:bodyPr>
          <a:lstStyle>
            <a:lvl1pPr algn="l">
              <a:defRPr sz="1200"/>
            </a:lvl1pPr>
          </a:lstStyle>
          <a:p>
            <a:endParaRPr lang="en-GB"/>
          </a:p>
        </p:txBody>
      </p:sp>
      <p:sp>
        <p:nvSpPr>
          <p:cNvPr id="7" name="Slide Number Placeholder 6"/>
          <p:cNvSpPr>
            <a:spLocks noGrp="1"/>
          </p:cNvSpPr>
          <p:nvPr>
            <p:ph type="sldNum" sz="quarter" idx="5"/>
          </p:nvPr>
        </p:nvSpPr>
        <p:spPr>
          <a:xfrm>
            <a:off x="6489005" y="8867001"/>
            <a:ext cx="367408" cy="276999"/>
          </a:xfrm>
          <a:prstGeom prst="rect">
            <a:avLst/>
          </a:prstGeom>
        </p:spPr>
        <p:txBody>
          <a:bodyPr vert="horz" wrap="none" lIns="91440" tIns="45720" rIns="91440" bIns="45720" rtlCol="0" anchor="b">
            <a:spAutoFit/>
          </a:bodyPr>
          <a:lstStyle>
            <a:lvl1pPr algn="r">
              <a:defRPr sz="1200"/>
            </a:lvl1pPr>
          </a:lstStyle>
          <a:p>
            <a:fld id="{5D6805EC-C5D3-4FCC-8B7C-480EC75C7913}" type="slidenum">
              <a:rPr lang="en-GB" smtClean="0"/>
              <a:t>‹#›</a:t>
            </a:fld>
            <a:endParaRPr lang="en-GB"/>
          </a:p>
        </p:txBody>
      </p:sp>
      <p:sp>
        <p:nvSpPr>
          <p:cNvPr id="13" name="Date Placeholder 12"/>
          <p:cNvSpPr>
            <a:spLocks noGrp="1"/>
          </p:cNvSpPr>
          <p:nvPr>
            <p:ph type="dt" idx="1"/>
          </p:nvPr>
        </p:nvSpPr>
        <p:spPr>
          <a:xfrm>
            <a:off x="5905512" y="0"/>
            <a:ext cx="950901" cy="276999"/>
          </a:xfrm>
          <a:prstGeom prst="rect">
            <a:avLst/>
          </a:prstGeom>
        </p:spPr>
        <p:txBody>
          <a:bodyPr vert="horz" wrap="none" lIns="91440" tIns="45720" rIns="91440" bIns="45720" rtlCol="0">
            <a:spAutoFit/>
          </a:bodyPr>
          <a:lstStyle>
            <a:lvl1pPr algn="r">
              <a:defRPr sz="1200"/>
            </a:lvl1pPr>
          </a:lstStyle>
          <a:p>
            <a:fld id="{EB4EC575-BF41-48F1-B716-96FFA91122F4}" type="datetimeFigureOut">
              <a:rPr lang="en-GB" smtClean="0"/>
              <a:t>25/02/2022</a:t>
            </a:fld>
            <a:endParaRPr lang="en-GB"/>
          </a:p>
        </p:txBody>
      </p:sp>
      <p:sp>
        <p:nvSpPr>
          <p:cNvPr id="3" name="Notes Placeholder 2"/>
          <p:cNvSpPr>
            <a:spLocks noGrp="1"/>
          </p:cNvSpPr>
          <p:nvPr>
            <p:ph type="body" sz="quarter" idx="3"/>
            <p:custDataLst>
              <p:tags r:id="rId2"/>
            </p:custDataLst>
          </p:nvPr>
        </p:nvSpPr>
        <p:spPr bwMode="auto">
          <a:xfrm>
            <a:off x="685800" y="4400550"/>
            <a:ext cx="5486400" cy="3600450"/>
          </a:xfrm>
          <a:prstGeom prst="rect">
            <a:avLst/>
          </a:prstGeom>
          <a:noFill/>
          <a:ln/>
          <a:effectLst/>
          <a:extLst>
            <a:ext uri="{909E8E84-426E-40DD-AFC4-6F175D3DCCD1}">
              <a14:hiddenFill xmlns:a14="http://schemas.microsoft.com/office/drawing/2010/main">
                <a:solidFill>
                  <a:srgbClr val="FFFFFF">
                    <a:alpha val="0"/>
                  </a:srgbClr>
                </a:solidFill>
              </a14:hiddenFill>
            </a:ext>
            <a:ext uri="{AF507438-7753-43E0-B8FC-AC1667EBCBE1}">
              <a14:hiddenEffects xmlns:a14="http://schemas.microsoft.com/office/drawing/2010/main">
                <a:effectLst>
                  <a:outerShdw blurRad="63500" dist="37357" dir="2700000" rotWithShape="0">
                    <a:scrgbClr r="0" g="0" b="0"/>
                  </a:outerShdw>
                </a:effectLst>
              </a14:hiddenEffects>
            </a:ext>
            <a:ext uri="{53640926-AAD7-44D8-BBD7-CCE9431645EC}">
              <a14:shadowObscured xmlns:a14="http://schemas.microsoft.com/office/drawing/2010/main"/>
            </a:ext>
          </a:extLst>
        </p:spPr>
        <p:txBody>
          <a:bodyPr vert="horz" wrap="square"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771825"/>
      </p:ext>
    </p:extLst>
  </p:cSld>
  <p:clrMap bg1="lt1" tx1="dk1" bg2="lt2" tx2="dk2" accent1="accent1" accent2="accent2" accent3="accent3" accent4="accent4" accent5="accent5" accent6="accent6" hlink="hlink" folHlink="folHlink"/>
  <p:notesStyle>
    <a:lvl1pPr marL="0" indent="0" algn="l" defTabSz="914400" rtl="0" eaLnBrk="1" latinLnBrk="0" hangingPunct="1">
      <a:lnSpc>
        <a:spcPct val="100000"/>
      </a:lnSpc>
      <a:spcBef>
        <a:spcPts val="999"/>
      </a:spcBef>
      <a:spcAft>
        <a:spcPts val="399"/>
      </a:spcAft>
      <a:defRPr kumimoji="0" lang="en-US" sz="1398" b="0" i="0" u="none" kern="1200" baseline="0" smtClean="0">
        <a:solidFill>
          <a:srgbClr val="1E35BF"/>
        </a:solidFill>
        <a:latin typeface="Arial" panose="020B0604020202020204" pitchFamily="34" charset="0"/>
        <a:ea typeface="+mn-ea"/>
        <a:cs typeface="+mn-cs"/>
      </a:defRPr>
    </a:lvl1pPr>
    <a:lvl2pPr marL="0" indent="0" algn="l" defTabSz="914400" rtl="0" eaLnBrk="1" latinLnBrk="0" hangingPunct="1">
      <a:lnSpc>
        <a:spcPct val="100000"/>
      </a:lnSpc>
      <a:spcBef>
        <a:spcPts val="399"/>
      </a:spcBef>
      <a:spcAft>
        <a:spcPts val="399"/>
      </a:spcAft>
      <a:defRPr kumimoji="0" lang="en-US" sz="1398" b="0" i="0" u="none" kern="1200" baseline="0" smtClean="0">
        <a:solidFill>
          <a:srgbClr val="000000"/>
        </a:solidFill>
        <a:latin typeface="Arial" panose="020B0604020202020204" pitchFamily="34" charset="0"/>
        <a:ea typeface="+mn-ea"/>
        <a:cs typeface="+mn-cs"/>
      </a:defRPr>
    </a:lvl2pPr>
    <a:lvl3pPr marL="269649"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3pPr>
    <a:lvl4pPr marL="539298"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US" sz="1198" b="0" i="0" u="none" kern="1200" baseline="0" smtClean="0">
        <a:solidFill>
          <a:srgbClr val="000000"/>
        </a:solidFill>
        <a:latin typeface="Arial" panose="020B0604020202020204" pitchFamily="34" charset="0"/>
        <a:ea typeface="+mn-ea"/>
        <a:cs typeface="+mn-cs"/>
      </a:defRPr>
    </a:lvl4pPr>
    <a:lvl5pPr marL="808947" indent="-269649" algn="l" defTabSz="914400" rtl="0" eaLnBrk="1" latinLnBrk="0" hangingPunct="1">
      <a:lnSpc>
        <a:spcPct val="100000"/>
      </a:lnSpc>
      <a:spcBef>
        <a:spcPts val="0"/>
      </a:spcBef>
      <a:spcAft>
        <a:spcPts val="399"/>
      </a:spcAft>
      <a:buClr>
        <a:srgbClr val="000000"/>
      </a:buClr>
      <a:buSzPct val="100000"/>
      <a:buFont typeface="Arial" panose="020B0604020202020204" pitchFamily="34" charset="0"/>
      <a:buChar char="–"/>
      <a:defRPr kumimoji="0" lang="en-GB" sz="1198" b="0" i="0" u="none" kern="1200" baseline="0">
        <a:solidFill>
          <a:srgbClr val="000000"/>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l">
              <a:buFont typeface="Arial" panose="020B0604020202020204" pitchFamily="34" charset="0"/>
              <a:buChar char="•"/>
            </a:pPr>
            <a:r>
              <a:rPr lang="en-GB" sz="1400" b="1">
                <a:solidFill>
                  <a:schemeClr val="accent3"/>
                </a:solidFill>
              </a:rPr>
              <a:t>No new interventions – same toolkit as before, but more transparency and consistency </a:t>
            </a:r>
          </a:p>
          <a:p>
            <a:pPr marL="342900" indent="-342900" algn="l">
              <a:buFont typeface="Arial" panose="020B0604020202020204" pitchFamily="34" charset="0"/>
              <a:buChar char="•"/>
            </a:pPr>
            <a:endParaRPr lang="en-GB" sz="1400" b="1">
              <a:solidFill>
                <a:schemeClr val="accent3"/>
              </a:solidFill>
            </a:endParaRPr>
          </a:p>
          <a:p>
            <a:pPr marL="342900" indent="-342900">
              <a:buFont typeface="Arial" panose="020B0604020202020204" pitchFamily="34" charset="0"/>
              <a:buChar char="•"/>
            </a:pPr>
            <a:r>
              <a:rPr lang="en-GB" sz="1400" b="1">
                <a:solidFill>
                  <a:schemeClr val="accent3"/>
                </a:solidFill>
              </a:rPr>
              <a:t>Interventions playbook isn’t a checklist</a:t>
            </a:r>
          </a:p>
          <a:p>
            <a:pPr marL="342900" indent="-342900">
              <a:buFont typeface="Arial" panose="020B0604020202020204" pitchFamily="34" charset="0"/>
              <a:buChar char="•"/>
            </a:pPr>
            <a:endParaRPr lang="en-GB" sz="1400" b="1">
              <a:solidFill>
                <a:schemeClr val="accent3"/>
              </a:solidFill>
            </a:endParaRPr>
          </a:p>
          <a:p>
            <a:pPr marL="342900" indent="-342900">
              <a:buFont typeface="Arial" panose="020B0604020202020204" pitchFamily="34" charset="0"/>
              <a:buChar char="•"/>
            </a:pPr>
            <a:r>
              <a:rPr lang="en-GB" sz="1400" b="1">
                <a:solidFill>
                  <a:schemeClr val="accent3"/>
                </a:solidFill>
              </a:rPr>
              <a:t>Process for appeal </a:t>
            </a:r>
          </a:p>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20</a:t>
            </a:fld>
            <a:endParaRPr lang="en-GB"/>
          </a:p>
        </p:txBody>
      </p:sp>
    </p:spTree>
    <p:extLst>
      <p:ext uri="{BB962C8B-B14F-4D97-AF65-F5344CB8AC3E}">
        <p14:creationId xmlns:p14="http://schemas.microsoft.com/office/powerpoint/2010/main" val="2210978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50">
                <a:latin typeface="Calibri"/>
                <a:cs typeface="Calibri"/>
              </a:rPr>
              <a:t>The self-assessment templates should already be available to you, now, for downloading and completing.</a:t>
            </a:r>
          </a:p>
          <a:p>
            <a:endParaRPr lang="en-US" sz="1350">
              <a:latin typeface="Calibri"/>
              <a:cs typeface="Calibri"/>
            </a:endParaRPr>
          </a:p>
          <a:p>
            <a:r>
              <a:rPr lang="en-US" sz="1350">
                <a:latin typeface="Calibri"/>
                <a:cs typeface="Calibri"/>
              </a:rPr>
              <a:t>Over the next few months, we'll be converting our CROF processes and assessments for all syndicates into ratings against the principles. And then syndicates will submit their self assessments at the end of April.</a:t>
            </a:r>
          </a:p>
          <a:p>
            <a:endParaRPr lang="en-US" sz="1350">
              <a:latin typeface="Calibri"/>
              <a:cs typeface="Calibri"/>
            </a:endParaRPr>
          </a:p>
          <a:p>
            <a:r>
              <a:rPr lang="en-US" sz="1350">
                <a:latin typeface="Calibri"/>
                <a:cs typeface="Calibri"/>
              </a:rPr>
              <a:t>Over May and June we'll reconcile your assessments with ours, and discuss any differences in opinions, before </a:t>
            </a:r>
            <a:r>
              <a:rPr lang="en-US" sz="1350" err="1">
                <a:latin typeface="Calibri"/>
                <a:cs typeface="Calibri"/>
              </a:rPr>
              <a:t>finalising</a:t>
            </a:r>
            <a:r>
              <a:rPr lang="en-US" sz="1350">
                <a:latin typeface="Calibri"/>
                <a:cs typeface="Calibri"/>
              </a:rPr>
              <a:t> syndicates' </a:t>
            </a:r>
            <a:r>
              <a:rPr lang="en-US" sz="1350" err="1">
                <a:latin typeface="Calibri"/>
                <a:cs typeface="Calibri"/>
              </a:rPr>
              <a:t>categorisations</a:t>
            </a:r>
            <a:r>
              <a:rPr lang="en-US" sz="1350">
                <a:latin typeface="Calibri"/>
                <a:cs typeface="Calibri"/>
              </a:rPr>
              <a:t> before the business planning cycle begins.</a:t>
            </a:r>
          </a:p>
        </p:txBody>
      </p:sp>
      <p:sp>
        <p:nvSpPr>
          <p:cNvPr id="4" name="Slide Number Placeholder 3"/>
          <p:cNvSpPr>
            <a:spLocks noGrp="1"/>
          </p:cNvSpPr>
          <p:nvPr>
            <p:ph type="sldNum" sz="quarter" idx="5"/>
          </p:nvPr>
        </p:nvSpPr>
        <p:spPr/>
        <p:txBody>
          <a:bodyPr/>
          <a:lstStyle/>
          <a:p>
            <a:fld id="{5D6805EC-C5D3-4FCC-8B7C-480EC75C7913}" type="slidenum">
              <a:rPr lang="en-GB" smtClean="0"/>
              <a:t>41</a:t>
            </a:fld>
            <a:endParaRPr lang="en-GB"/>
          </a:p>
        </p:txBody>
      </p:sp>
    </p:spTree>
    <p:extLst>
      <p:ext uri="{BB962C8B-B14F-4D97-AF65-F5344CB8AC3E}">
        <p14:creationId xmlns:p14="http://schemas.microsoft.com/office/powerpoint/2010/main" val="39926832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50">
                <a:latin typeface="Arial"/>
                <a:cs typeface="Arial"/>
              </a:rPr>
              <a:t>So for now, these are the takeaways, the call to action.</a:t>
            </a:r>
            <a:endParaRPr lang="en-GB" sz="1350">
              <a:cs typeface="Arial"/>
            </a:endParaRPr>
          </a:p>
          <a:p>
            <a:endParaRPr lang="en-GB" sz="1350">
              <a:cs typeface="Arial"/>
            </a:endParaRPr>
          </a:p>
          <a:p>
            <a:r>
              <a:rPr lang="en-GB" sz="1350">
                <a:latin typeface="Arial"/>
                <a:cs typeface="Arial"/>
              </a:rPr>
              <a:t>Please get familiar with the Principles, and the Nat Cat maturity framework to the extent that it's set out slightly differently to CROF. </a:t>
            </a:r>
          </a:p>
          <a:p>
            <a:endParaRPr lang="en-GB" sz="1350">
              <a:latin typeface="Arial"/>
              <a:cs typeface="Arial"/>
            </a:endParaRPr>
          </a:p>
          <a:p>
            <a:r>
              <a:rPr lang="en-GB" sz="1350">
                <a:latin typeface="Arial"/>
                <a:cs typeface="Arial"/>
              </a:rPr>
              <a:t>Consider whether you're going to have any difficulties adjusting to the new regime.</a:t>
            </a:r>
            <a:endParaRPr lang="en-GB" sz="1350">
              <a:cs typeface="Arial"/>
            </a:endParaRPr>
          </a:p>
          <a:p>
            <a:endParaRPr lang="en-GB" sz="1350">
              <a:latin typeface="Arial"/>
              <a:cs typeface="Arial"/>
            </a:endParaRPr>
          </a:p>
          <a:p>
            <a:r>
              <a:rPr lang="en-GB" sz="1350">
                <a:latin typeface="Arial"/>
                <a:cs typeface="Arial"/>
              </a:rPr>
              <a:t>Check your expected maturity, start completing the self-assessment, and then think about whether there might be any gaps that can be easily closed.</a:t>
            </a:r>
          </a:p>
          <a:p>
            <a:endParaRPr lang="en-GB" sz="1350">
              <a:latin typeface="Arial"/>
              <a:cs typeface="Arial"/>
            </a:endParaRPr>
          </a:p>
          <a:p>
            <a:r>
              <a:rPr lang="en-GB" sz="1350">
                <a:latin typeface="Arial"/>
                <a:cs typeface="Arial"/>
              </a:rPr>
              <a:t>For any questions on the framework, get in touch with your syndicate's Account Manager – not your Exposure Management Manager.</a:t>
            </a:r>
          </a:p>
          <a:p>
            <a:endParaRPr lang="en-GB" sz="1350">
              <a:latin typeface="Arial"/>
              <a:cs typeface="Arial"/>
            </a:endParaRPr>
          </a:p>
          <a:p>
            <a:r>
              <a:rPr lang="en-GB" sz="1350">
                <a:latin typeface="Arial"/>
                <a:cs typeface="Arial"/>
              </a:rPr>
              <a:t>And do think about preparing for our detailed non-</a:t>
            </a:r>
            <a:r>
              <a:rPr lang="en-GB" sz="1350" err="1">
                <a:latin typeface="Arial"/>
                <a:cs typeface="Arial"/>
              </a:rPr>
              <a:t>nat</a:t>
            </a:r>
            <a:r>
              <a:rPr lang="en-GB" sz="1350">
                <a:latin typeface="Arial"/>
                <a:cs typeface="Arial"/>
              </a:rPr>
              <a:t> cat reviews, coming in April onwards! Your EM Manager will be in touch about that.</a:t>
            </a:r>
            <a:endParaRPr lang="en-GB" sz="1350">
              <a:cs typeface="Arial"/>
            </a:endParaRPr>
          </a:p>
        </p:txBody>
      </p:sp>
      <p:sp>
        <p:nvSpPr>
          <p:cNvPr id="4" name="Slide Number Placeholder 3"/>
          <p:cNvSpPr>
            <a:spLocks noGrp="1"/>
          </p:cNvSpPr>
          <p:nvPr>
            <p:ph type="sldNum" sz="quarter" idx="5"/>
          </p:nvPr>
        </p:nvSpPr>
        <p:spPr/>
        <p:txBody>
          <a:bodyPr/>
          <a:lstStyle/>
          <a:p>
            <a:fld id="{5D6805EC-C5D3-4FCC-8B7C-480EC75C7913}" type="slidenum">
              <a:rPr lang="en-GB" smtClean="0"/>
              <a:t>42</a:t>
            </a:fld>
            <a:endParaRPr lang="en-GB"/>
          </a:p>
        </p:txBody>
      </p:sp>
    </p:spTree>
    <p:extLst>
      <p:ext uri="{BB962C8B-B14F-4D97-AF65-F5344CB8AC3E}">
        <p14:creationId xmlns:p14="http://schemas.microsoft.com/office/powerpoint/2010/main" val="2978692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28</a:t>
            </a:fld>
            <a:endParaRPr lang="en-GB"/>
          </a:p>
        </p:txBody>
      </p:sp>
    </p:spTree>
    <p:extLst>
      <p:ext uri="{BB962C8B-B14F-4D97-AF65-F5344CB8AC3E}">
        <p14:creationId xmlns:p14="http://schemas.microsoft.com/office/powerpoint/2010/main" val="31004481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29</a:t>
            </a:fld>
            <a:endParaRPr lang="en-GB"/>
          </a:p>
        </p:txBody>
      </p:sp>
    </p:spTree>
    <p:extLst>
      <p:ext uri="{BB962C8B-B14F-4D97-AF65-F5344CB8AC3E}">
        <p14:creationId xmlns:p14="http://schemas.microsoft.com/office/powerpoint/2010/main" val="559010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31</a:t>
            </a:fld>
            <a:endParaRPr lang="en-GB"/>
          </a:p>
        </p:txBody>
      </p:sp>
    </p:spTree>
    <p:extLst>
      <p:ext uri="{BB962C8B-B14F-4D97-AF65-F5344CB8AC3E}">
        <p14:creationId xmlns:p14="http://schemas.microsoft.com/office/powerpoint/2010/main" val="2401031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32</a:t>
            </a:fld>
            <a:endParaRPr lang="en-GB"/>
          </a:p>
        </p:txBody>
      </p:sp>
    </p:spTree>
    <p:extLst>
      <p:ext uri="{BB962C8B-B14F-4D97-AF65-F5344CB8AC3E}">
        <p14:creationId xmlns:p14="http://schemas.microsoft.com/office/powerpoint/2010/main" val="17955569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35</a:t>
            </a:fld>
            <a:endParaRPr lang="en-GB"/>
          </a:p>
        </p:txBody>
      </p:sp>
    </p:spTree>
    <p:extLst>
      <p:ext uri="{BB962C8B-B14F-4D97-AF65-F5344CB8AC3E}">
        <p14:creationId xmlns:p14="http://schemas.microsoft.com/office/powerpoint/2010/main" val="15342251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36</a:t>
            </a:fld>
            <a:endParaRPr lang="en-GB"/>
          </a:p>
        </p:txBody>
      </p:sp>
    </p:spTree>
    <p:extLst>
      <p:ext uri="{BB962C8B-B14F-4D97-AF65-F5344CB8AC3E}">
        <p14:creationId xmlns:p14="http://schemas.microsoft.com/office/powerpoint/2010/main" val="2375863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D6805EC-C5D3-4FCC-8B7C-480EC75C7913}" type="slidenum">
              <a:rPr lang="en-GB" smtClean="0"/>
              <a:t>38</a:t>
            </a:fld>
            <a:endParaRPr lang="en-GB"/>
          </a:p>
        </p:txBody>
      </p:sp>
    </p:spTree>
    <p:extLst>
      <p:ext uri="{BB962C8B-B14F-4D97-AF65-F5344CB8AC3E}">
        <p14:creationId xmlns:p14="http://schemas.microsoft.com/office/powerpoint/2010/main" val="795686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350">
                <a:latin typeface="Calibri"/>
                <a:cs typeface="Calibri"/>
              </a:rPr>
              <a:t>So finally, a quick outline of our next steps.</a:t>
            </a:r>
          </a:p>
        </p:txBody>
      </p:sp>
      <p:sp>
        <p:nvSpPr>
          <p:cNvPr id="4" name="Slide Number Placeholder 3"/>
          <p:cNvSpPr>
            <a:spLocks noGrp="1"/>
          </p:cNvSpPr>
          <p:nvPr>
            <p:ph type="sldNum" sz="quarter" idx="5"/>
          </p:nvPr>
        </p:nvSpPr>
        <p:spPr/>
        <p:txBody>
          <a:bodyPr/>
          <a:lstStyle/>
          <a:p>
            <a:fld id="{5D6805EC-C5D3-4FCC-8B7C-480EC75C7913}" type="slidenum">
              <a:rPr lang="en-GB" smtClean="0"/>
              <a:t>40</a:t>
            </a:fld>
            <a:endParaRPr lang="en-GB"/>
          </a:p>
        </p:txBody>
      </p:sp>
    </p:spTree>
    <p:extLst>
      <p:ext uri="{BB962C8B-B14F-4D97-AF65-F5344CB8AC3E}">
        <p14:creationId xmlns:p14="http://schemas.microsoft.com/office/powerpoint/2010/main" val="20416486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Lloyds Cover">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39400" y="4302143"/>
            <a:ext cx="11160000" cy="380480"/>
          </a:xfrm>
        </p:spPr>
        <p:txBody>
          <a:bodyPr tIns="0" bIns="72000">
            <a:spAutoFit/>
          </a:bodyPr>
          <a:lstStyle>
            <a:lvl1pPr marL="0" indent="0" algn="l">
              <a:spcBef>
                <a:spcPts val="0"/>
              </a:spcBef>
              <a:buNone/>
              <a:defRPr sz="2000">
                <a:solidFill>
                  <a:schemeClr val="tx1"/>
                </a:solidFill>
              </a:defRPr>
            </a:lvl1pPr>
            <a:lvl2pPr marL="0" indent="0" algn="l">
              <a:spcBef>
                <a:spcPts val="0"/>
              </a:spcBef>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US" noProof="0"/>
              <a:t>Click to edit Master subtitle style</a:t>
            </a:r>
            <a:endParaRPr lang="en-GB" noProof="0"/>
          </a:p>
        </p:txBody>
      </p:sp>
      <p:sp>
        <p:nvSpPr>
          <p:cNvPr id="5" name="TextBox 4">
            <a:extLst>
              <a:ext uri="{FF2B5EF4-FFF2-40B4-BE49-F238E27FC236}">
                <a16:creationId xmlns:a16="http://schemas.microsoft.com/office/drawing/2014/main" id="{4B1BE06E-52E9-410B-8251-D35649EC9BE0}"/>
              </a:ext>
            </a:extLst>
          </p:cNvPr>
          <p:cNvSpPr txBox="1"/>
          <p:nvPr userDrawn="1"/>
        </p:nvSpPr>
        <p:spPr>
          <a:xfrm>
            <a:off x="539400" y="5973547"/>
            <a:ext cx="1491916" cy="153888"/>
          </a:xfrm>
          <a:prstGeom prst="rect">
            <a:avLst/>
          </a:prstGeom>
          <a:noFill/>
        </p:spPr>
        <p:txBody>
          <a:bodyPr wrap="square" lIns="0" tIns="0" rIns="0" bIns="0" rtlCol="0">
            <a:spAutoFit/>
          </a:bodyPr>
          <a:lstStyle/>
          <a:p>
            <a:r>
              <a:rPr lang="en-GB" sz="1000">
                <a:solidFill>
                  <a:schemeClr val="bg1"/>
                </a:solidFill>
              </a:rPr>
              <a:t>© Lloyd’s 2021</a:t>
            </a:r>
          </a:p>
        </p:txBody>
      </p:sp>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0" y="2193925"/>
            <a:ext cx="11160125" cy="1743075"/>
          </a:xfrm>
        </p:spPr>
        <p:txBody>
          <a:bodyPr anchor="b"/>
          <a:lstStyle>
            <a:lvl1pPr>
              <a:defRPr sz="4000">
                <a:solidFill>
                  <a:schemeClr val="tx1"/>
                </a:solidFill>
              </a:defRPr>
            </a:lvl1pPr>
            <a:lvl2pPr>
              <a:defRPr sz="4000">
                <a:solidFill>
                  <a:schemeClr val="tx1"/>
                </a:solidFill>
              </a:defRPr>
            </a:lvl2pPr>
            <a:lvl3pPr marL="0" indent="0">
              <a:buNone/>
              <a:defRPr sz="4000">
                <a:solidFill>
                  <a:schemeClr val="bg1"/>
                </a:solidFill>
              </a:defRPr>
            </a:lvl3pPr>
            <a:lvl4pPr marL="0" indent="0">
              <a:buNone/>
              <a:defRPr sz="4000">
                <a:solidFill>
                  <a:schemeClr val="accent3"/>
                </a:solidFill>
              </a:defRPr>
            </a:lvl4pPr>
            <a:lvl5pPr marL="0" indent="0">
              <a:buNone/>
              <a:defRPr sz="4000">
                <a:solidFill>
                  <a:schemeClr val="accent5"/>
                </a:solidFill>
              </a:defRPr>
            </a:lvl5pPr>
            <a:lvl6pPr marL="0" indent="0">
              <a:lnSpc>
                <a:spcPct val="100000"/>
              </a:lnSpc>
              <a:spcBef>
                <a:spcPts val="600"/>
              </a:spcBef>
              <a:buFontTx/>
              <a:buNone/>
              <a:defRPr sz="4000">
                <a:solidFill>
                  <a:schemeClr val="accent6"/>
                </a:solidFill>
              </a:defRPr>
            </a:lvl6pPr>
          </a:lstStyle>
          <a:p>
            <a:pPr lvl="0"/>
            <a:r>
              <a:rPr lang="en-US"/>
              <a:t>Click to edit Master text styles</a:t>
            </a:r>
          </a:p>
          <a:p>
            <a:pPr lvl="1"/>
            <a:r>
              <a:rPr lang="en-US"/>
              <a:t>Second level</a:t>
            </a:r>
          </a:p>
        </p:txBody>
      </p:sp>
      <p:pic>
        <p:nvPicPr>
          <p:cNvPr id="7" name="Picture 6">
            <a:extLst>
              <a:ext uri="{FF2B5EF4-FFF2-40B4-BE49-F238E27FC236}">
                <a16:creationId xmlns:a16="http://schemas.microsoft.com/office/drawing/2014/main" id="{C53AEF39-C908-4F5F-8B1C-CC063BD87C2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6" name="TextBox 5">
            <a:extLst>
              <a:ext uri="{FF2B5EF4-FFF2-40B4-BE49-F238E27FC236}">
                <a16:creationId xmlns:a16="http://schemas.microsoft.com/office/drawing/2014/main" id="{703C73A4-2794-4802-AFB4-A00F7AA039E5}"/>
              </a:ext>
            </a:extLst>
          </p:cNvPr>
          <p:cNvSpPr txBox="1"/>
          <p:nvPr userDrawn="1"/>
        </p:nvSpPr>
        <p:spPr>
          <a:xfrm>
            <a:off x="539400" y="6368136"/>
            <a:ext cx="1491916" cy="153888"/>
          </a:xfrm>
          <a:prstGeom prst="rect">
            <a:avLst/>
          </a:prstGeom>
          <a:noFill/>
        </p:spPr>
        <p:txBody>
          <a:bodyPr wrap="square" lIns="0" tIns="0" rIns="0" bIns="0" rtlCol="0">
            <a:spAutoFit/>
          </a:bodyPr>
          <a:lstStyle/>
          <a:p>
            <a:r>
              <a:rPr lang="en-GB" sz="1000">
                <a:solidFill>
                  <a:schemeClr val="tx1"/>
                </a:solidFill>
              </a:rPr>
              <a:t>© Lloyd’s 2021</a:t>
            </a:r>
          </a:p>
        </p:txBody>
      </p:sp>
    </p:spTree>
    <p:extLst>
      <p:ext uri="{BB962C8B-B14F-4D97-AF65-F5344CB8AC3E}">
        <p14:creationId xmlns:p14="http://schemas.microsoft.com/office/powerpoint/2010/main" val="7537718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243800" y="2685574"/>
            <a:ext cx="3704400" cy="1486853"/>
          </a:xfrm>
          <a:prstGeom prst="rect">
            <a:avLst/>
          </a:prstGeom>
        </p:spPr>
      </p:pic>
    </p:spTree>
    <p:extLst>
      <p:ext uri="{BB962C8B-B14F-4D97-AF65-F5344CB8AC3E}">
        <p14:creationId xmlns:p14="http://schemas.microsoft.com/office/powerpoint/2010/main" val="32192708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14" b="1" i="0">
                <a:solidFill>
                  <a:srgbClr val="1E35BE"/>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539999" y="6431015"/>
            <a:ext cx="4114800" cy="184666"/>
          </a:xfr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5410799" y="6431015"/>
            <a:ext cx="2743200" cy="184666"/>
          </a:xfrm>
        </p:spPr>
        <p:txBody>
          <a:bodyPr lIns="0" tIns="0" rIns="0" bIns="0"/>
          <a:lstStyle>
            <a:lvl1pPr algn="l">
              <a:defRPr>
                <a:solidFill>
                  <a:schemeClr val="tx1">
                    <a:tint val="75000"/>
                  </a:schemeClr>
                </a:solidFill>
              </a:defRPr>
            </a:lvl1pPr>
          </a:lstStyle>
          <a:p>
            <a:fld id="{1D8BD707-D9CF-40AE-B4C6-C98DA3205C09}" type="datetimeFigureOut">
              <a:rPr lang="en-US"/>
              <a:t>2/25/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10054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loyds divider">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1345376" cy="540000"/>
          </a:xfrm>
          <a:prstGeom prst="rect">
            <a:avLst/>
          </a:prstGeom>
        </p:spPr>
      </p:pic>
      <p:sp>
        <p:nvSpPr>
          <p:cNvPr id="8" name="Text Placeholder 7">
            <a:extLst>
              <a:ext uri="{FF2B5EF4-FFF2-40B4-BE49-F238E27FC236}">
                <a16:creationId xmlns:a16="http://schemas.microsoft.com/office/drawing/2014/main" id="{C96BE0D3-D811-41D9-972E-BEB766764843}"/>
              </a:ext>
            </a:extLst>
          </p:cNvPr>
          <p:cNvSpPr>
            <a:spLocks noGrp="1"/>
          </p:cNvSpPr>
          <p:nvPr>
            <p:ph type="body" sz="quarter" idx="10"/>
          </p:nvPr>
        </p:nvSpPr>
        <p:spPr>
          <a:xfrm>
            <a:off x="533401" y="1164034"/>
            <a:ext cx="5848350" cy="1454041"/>
          </a:xfrm>
        </p:spPr>
        <p:txBody>
          <a:bodyPr anchor="t"/>
          <a:lstStyle>
            <a:lvl1pPr>
              <a:spcBef>
                <a:spcPts val="0"/>
              </a:spcBef>
              <a:defRPr sz="4000">
                <a:solidFill>
                  <a:schemeClr val="tx1"/>
                </a:solidFill>
              </a:defRPr>
            </a:lvl1pPr>
            <a:lvl2pPr>
              <a:spcBef>
                <a:spcPts val="0"/>
              </a:spcBef>
              <a:defRPr sz="4000">
                <a:solidFill>
                  <a:schemeClr val="tx1"/>
                </a:solidFill>
              </a:defRPr>
            </a:lvl2pPr>
            <a:lvl3pPr marL="0" indent="0">
              <a:spcBef>
                <a:spcPts val="0"/>
              </a:spcBef>
              <a:buNone/>
              <a:defRPr sz="4000">
                <a:solidFill>
                  <a:schemeClr val="bg1"/>
                </a:solidFill>
              </a:defRPr>
            </a:lvl3pPr>
            <a:lvl4pPr marL="0" indent="0">
              <a:spcBef>
                <a:spcPts val="0"/>
              </a:spcBef>
              <a:buNone/>
              <a:defRPr sz="4000">
                <a:solidFill>
                  <a:schemeClr val="accent3"/>
                </a:solidFill>
              </a:defRPr>
            </a:lvl4pPr>
            <a:lvl5pPr marL="0" indent="0">
              <a:spcBef>
                <a:spcPts val="0"/>
              </a:spcBef>
              <a:buNone/>
              <a:defRPr sz="4000">
                <a:solidFill>
                  <a:schemeClr val="accent5"/>
                </a:solidFill>
              </a:defRPr>
            </a:lvl5pPr>
            <a:lvl6pPr marL="0" indent="0">
              <a:lnSpc>
                <a:spcPct val="100000"/>
              </a:lnSpc>
              <a:spcBef>
                <a:spcPts val="0"/>
              </a:spcBef>
              <a:buFontTx/>
              <a:buNone/>
              <a:defRPr sz="4000">
                <a:solidFill>
                  <a:schemeClr val="accent6"/>
                </a:solidFill>
              </a:defRPr>
            </a:lvl6pPr>
            <a:lvl7pPr marL="0" indent="0">
              <a:lnSpc>
                <a:spcPct val="100000"/>
              </a:lnSpc>
              <a:spcBef>
                <a:spcPts val="0"/>
              </a:spcBef>
              <a:buNone/>
              <a:defRPr sz="4000">
                <a:solidFill>
                  <a:schemeClr val="bg2"/>
                </a:solidFill>
              </a:defRPr>
            </a:lvl7pPr>
          </a:lstStyle>
          <a:p>
            <a:pPr lvl="0"/>
            <a:r>
              <a:rPr lang="en-US"/>
              <a:t>Click to edit Master text styles</a:t>
            </a:r>
          </a:p>
          <a:p>
            <a:pPr lvl="1"/>
            <a:r>
              <a:rPr lang="en-US"/>
              <a:t>Second level</a:t>
            </a:r>
          </a:p>
        </p:txBody>
      </p:sp>
      <p:sp>
        <p:nvSpPr>
          <p:cNvPr id="3" name="Text Placeholder 2">
            <a:extLst>
              <a:ext uri="{FF2B5EF4-FFF2-40B4-BE49-F238E27FC236}">
                <a16:creationId xmlns:a16="http://schemas.microsoft.com/office/drawing/2014/main" id="{97FCBB70-9802-495D-82A7-F10A752BD42A}"/>
              </a:ext>
            </a:extLst>
          </p:cNvPr>
          <p:cNvSpPr>
            <a:spLocks noGrp="1"/>
          </p:cNvSpPr>
          <p:nvPr>
            <p:ph type="body" sz="quarter" idx="12"/>
          </p:nvPr>
        </p:nvSpPr>
        <p:spPr>
          <a:xfrm>
            <a:off x="533400" y="3243263"/>
            <a:ext cx="5848350" cy="2541587"/>
          </a:xfrm>
        </p:spPr>
        <p:txBody>
          <a:bodyPr/>
          <a:lstStyle>
            <a:lvl1pPr>
              <a:defRPr b="0">
                <a:solidFill>
                  <a:schemeClr val="tx1"/>
                </a:solidFill>
              </a:defRPr>
            </a:lvl1pPr>
            <a:lvl2pPr>
              <a:spcBef>
                <a:spcPts val="1800"/>
              </a:spcBef>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5" name="Straight Connector 4">
            <a:extLst>
              <a:ext uri="{FF2B5EF4-FFF2-40B4-BE49-F238E27FC236}">
                <a16:creationId xmlns:a16="http://schemas.microsoft.com/office/drawing/2014/main" id="{F0F966EB-5F91-4BE8-93F5-1C27B13B3162}"/>
              </a:ext>
            </a:extLst>
          </p:cNvPr>
          <p:cNvCxnSpPr>
            <a:cxnSpLocks/>
          </p:cNvCxnSpPr>
          <p:nvPr userDrawn="1"/>
        </p:nvCxnSpPr>
        <p:spPr>
          <a:xfrm>
            <a:off x="533400" y="3175888"/>
            <a:ext cx="5850000"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B0823F0-8055-4E6C-B32B-33EB021F9701}"/>
              </a:ext>
            </a:extLst>
          </p:cNvPr>
          <p:cNvSpPr txBox="1"/>
          <p:nvPr userDrawn="1"/>
        </p:nvSpPr>
        <p:spPr>
          <a:xfrm>
            <a:off x="539400" y="6368136"/>
            <a:ext cx="1491916" cy="153888"/>
          </a:xfrm>
          <a:prstGeom prst="rect">
            <a:avLst/>
          </a:prstGeom>
          <a:noFill/>
        </p:spPr>
        <p:txBody>
          <a:bodyPr wrap="square" lIns="0" tIns="0" rIns="0" bIns="0" rtlCol="0">
            <a:spAutoFit/>
          </a:bodyPr>
          <a:lstStyle/>
          <a:p>
            <a:r>
              <a:rPr lang="en-GB" sz="1000">
                <a:solidFill>
                  <a:schemeClr val="tx1"/>
                </a:solidFill>
              </a:rPr>
              <a:t>© Lloyd’s 2021</a:t>
            </a:r>
          </a:p>
        </p:txBody>
      </p:sp>
    </p:spTree>
    <p:extLst>
      <p:ext uri="{BB962C8B-B14F-4D97-AF65-F5344CB8AC3E}">
        <p14:creationId xmlns:p14="http://schemas.microsoft.com/office/powerpoint/2010/main" val="3683870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21300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loyds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606"/>
            <a:ext cx="11160000" cy="46799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82C7E051-88B9-4FEA-9C15-3E2BD1F3F86B}"/>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05983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loyds Two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531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6389999" y="1638557"/>
            <a:ext cx="531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5586BBE7-42D2-4163-8F5E-6B95987D4135}"/>
              </a:ext>
            </a:extLst>
          </p:cNvPr>
          <p:cNvSpPr>
            <a:spLocks noGrp="1"/>
          </p:cNvSpPr>
          <p:nvPr>
            <p:ph type="title"/>
          </p:nvPr>
        </p:nvSpPr>
        <p:spPr/>
        <p:txBody>
          <a:bodyPr/>
          <a:lstStyle/>
          <a:p>
            <a:r>
              <a:rPr lang="en-US"/>
              <a:t>Click to edit Master title style</a:t>
            </a:r>
            <a:endParaRPr lang="en-GB"/>
          </a:p>
        </p:txBody>
      </p:sp>
      <p:sp>
        <p:nvSpPr>
          <p:cNvPr id="8" name="Text Placeholder 3">
            <a:extLst>
              <a:ext uri="{FF2B5EF4-FFF2-40B4-BE49-F238E27FC236}">
                <a16:creationId xmlns:a16="http://schemas.microsoft.com/office/drawing/2014/main" id="{E769D238-6E6B-48B0-85DD-D9A020493493}"/>
              </a:ext>
            </a:extLst>
          </p:cNvPr>
          <p:cNvSpPr>
            <a:spLocks noGrp="1"/>
          </p:cNvSpPr>
          <p:nvPr>
            <p:ph type="body" sz="quarter" idx="18"/>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7344922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loyds Three 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3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7" name="Text Placeholder 6">
            <a:extLst>
              <a:ext uri="{FF2B5EF4-FFF2-40B4-BE49-F238E27FC236}">
                <a16:creationId xmlns:a16="http://schemas.microsoft.com/office/drawing/2014/main" id="{E43542D8-E35C-432C-BE6F-C57A3FDDB8D9}"/>
              </a:ext>
            </a:extLst>
          </p:cNvPr>
          <p:cNvSpPr>
            <a:spLocks noGrp="1"/>
          </p:cNvSpPr>
          <p:nvPr>
            <p:ph type="body" sz="quarter" idx="17"/>
          </p:nvPr>
        </p:nvSpPr>
        <p:spPr>
          <a:xfrm>
            <a:off x="8219999" y="1638557"/>
            <a:ext cx="348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5E1A8181-C9C4-421B-8B23-008BA16EF614}"/>
              </a:ext>
            </a:extLst>
          </p:cNvPr>
          <p:cNvSpPr>
            <a:spLocks noGrp="1"/>
          </p:cNvSpPr>
          <p:nvPr>
            <p:ph idx="18"/>
          </p:nvPr>
        </p:nvSpPr>
        <p:spPr>
          <a:xfrm>
            <a:off x="4379999" y="1638557"/>
            <a:ext cx="3480000" cy="46800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 name="Title 1">
            <a:extLst>
              <a:ext uri="{FF2B5EF4-FFF2-40B4-BE49-F238E27FC236}">
                <a16:creationId xmlns:a16="http://schemas.microsoft.com/office/drawing/2014/main" id="{73801C53-8B28-4B4B-AA04-ED864A8EFD3C}"/>
              </a:ext>
            </a:extLst>
          </p:cNvPr>
          <p:cNvSpPr>
            <a:spLocks noGrp="1"/>
          </p:cNvSpPr>
          <p:nvPr>
            <p:ph type="title"/>
          </p:nvPr>
        </p:nvSpPr>
        <p:spPr/>
        <p:txBody>
          <a:bodyPr/>
          <a:lstStyle/>
          <a:p>
            <a:r>
              <a:rPr lang="en-US"/>
              <a:t>Click to edit Master title style</a:t>
            </a:r>
            <a:endParaRPr lang="en-GB"/>
          </a:p>
        </p:txBody>
      </p:sp>
      <p:sp>
        <p:nvSpPr>
          <p:cNvPr id="10" name="Text Placeholder 3">
            <a:extLst>
              <a:ext uri="{FF2B5EF4-FFF2-40B4-BE49-F238E27FC236}">
                <a16:creationId xmlns:a16="http://schemas.microsoft.com/office/drawing/2014/main" id="{36A8AA5B-DD84-4A19-B63C-B058C57078EA}"/>
              </a:ext>
            </a:extLst>
          </p:cNvPr>
          <p:cNvSpPr>
            <a:spLocks noGrp="1"/>
          </p:cNvSpPr>
          <p:nvPr>
            <p:ph type="body" sz="quarter" idx="19"/>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0643977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loyds Title Only">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1403F9A-F0FA-43E0-8411-BF592B6154B0}"/>
              </a:ext>
            </a:extLst>
          </p:cNvPr>
          <p:cNvSpPr>
            <a:spLocks noGrp="1"/>
          </p:cNvSpPr>
          <p:nvPr>
            <p:ph type="title"/>
          </p:nvPr>
        </p:nvSpPr>
        <p:spPr/>
        <p:txBody>
          <a:bodyPr/>
          <a:lstStyle/>
          <a:p>
            <a:r>
              <a:rPr lang="en-US"/>
              <a:t>Click to edit Master title style</a:t>
            </a:r>
            <a:endParaRPr lang="en-GB"/>
          </a:p>
        </p:txBody>
      </p:sp>
      <p:sp>
        <p:nvSpPr>
          <p:cNvPr id="9" name="Text Placeholder 8">
            <a:extLst>
              <a:ext uri="{FF2B5EF4-FFF2-40B4-BE49-F238E27FC236}">
                <a16:creationId xmlns:a16="http://schemas.microsoft.com/office/drawing/2014/main" id="{AD58C9FE-B14D-43C4-A9F8-D76F9D9F4A69}"/>
              </a:ext>
            </a:extLst>
          </p:cNvPr>
          <p:cNvSpPr>
            <a:spLocks noGrp="1"/>
          </p:cNvSpPr>
          <p:nvPr>
            <p:ph type="body" sz="quarter" idx="16" hasCustomPrompt="1"/>
          </p:nvPr>
        </p:nvSpPr>
        <p:spPr>
          <a:xfrm>
            <a:off x="6096000" y="6318000"/>
            <a:ext cx="5114925" cy="252000"/>
          </a:xfrm>
        </p:spPr>
        <p:txBody>
          <a:bodyPr anchor="ctr"/>
          <a:lstStyle>
            <a:lvl1pPr algn="r">
              <a:defRPr sz="1200" b="0"/>
            </a:lvl1pPr>
            <a:lvl2pPr algn="r">
              <a:defRPr/>
            </a:lvl2pPr>
            <a:lvl3pPr algn="r">
              <a:defRPr/>
            </a:lvl3pPr>
            <a:lvl4pPr algn="r">
              <a:defRPr/>
            </a:lvl4pPr>
            <a:lvl5pPr algn="r">
              <a:defRPr/>
            </a:lvl5pPr>
          </a:lstStyle>
          <a:p>
            <a:pPr lvl="0"/>
            <a:r>
              <a:rPr lang="en-US"/>
              <a:t>Running footer if required</a:t>
            </a:r>
          </a:p>
        </p:txBody>
      </p:sp>
      <p:sp>
        <p:nvSpPr>
          <p:cNvPr id="4" name="Text Placeholder 3">
            <a:extLst>
              <a:ext uri="{FF2B5EF4-FFF2-40B4-BE49-F238E27FC236}">
                <a16:creationId xmlns:a16="http://schemas.microsoft.com/office/drawing/2014/main" id="{98E85975-D549-47FD-B4CC-1939534FD249}"/>
              </a:ext>
            </a:extLst>
          </p:cNvPr>
          <p:cNvSpPr>
            <a:spLocks noGrp="1"/>
          </p:cNvSpPr>
          <p:nvPr>
            <p:ph type="body" sz="quarter" idx="17"/>
          </p:nvPr>
        </p:nvSpPr>
        <p:spPr>
          <a:xfrm>
            <a:off x="533400" y="1100138"/>
            <a:ext cx="11160125" cy="307777"/>
          </a:xfrm>
        </p:spPr>
        <p:txBody>
          <a:bodyPr>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3799667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loyds Speaker ">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D18E711-8B84-4E8F-B8EA-4A2C910206C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3" name="Picture Placeholder 2">
            <a:extLst>
              <a:ext uri="{FF2B5EF4-FFF2-40B4-BE49-F238E27FC236}">
                <a16:creationId xmlns:a16="http://schemas.microsoft.com/office/drawing/2014/main" id="{0BE0DE4D-AC76-4EF3-A151-AE073733C1B4}"/>
              </a:ext>
            </a:extLst>
          </p:cNvPr>
          <p:cNvSpPr>
            <a:spLocks noGrp="1"/>
          </p:cNvSpPr>
          <p:nvPr>
            <p:ph type="pic" sz="quarter" idx="10"/>
          </p:nvPr>
        </p:nvSpPr>
        <p:spPr>
          <a:xfrm>
            <a:off x="6381751" y="0"/>
            <a:ext cx="5810250" cy="6858000"/>
          </a:xfrm>
        </p:spPr>
        <p:txBody>
          <a:bodyPr anchor="ctr"/>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2F14D75B-038A-46F4-8303-A4A12520829C}"/>
              </a:ext>
            </a:extLst>
          </p:cNvPr>
          <p:cNvSpPr txBox="1"/>
          <p:nvPr userDrawn="1"/>
        </p:nvSpPr>
        <p:spPr>
          <a:xfrm>
            <a:off x="539400" y="6368136"/>
            <a:ext cx="1491916" cy="153888"/>
          </a:xfrm>
          <a:prstGeom prst="rect">
            <a:avLst/>
          </a:prstGeom>
          <a:noFill/>
        </p:spPr>
        <p:txBody>
          <a:bodyPr wrap="square" lIns="0" tIns="0" rIns="0" bIns="0" rtlCol="0">
            <a:spAutoFit/>
          </a:bodyPr>
          <a:lstStyle/>
          <a:p>
            <a:r>
              <a:rPr lang="en-GB" sz="1000">
                <a:solidFill>
                  <a:schemeClr val="tx1"/>
                </a:solidFill>
              </a:rPr>
              <a:t>© Lloyd’s 2021</a:t>
            </a:r>
          </a:p>
        </p:txBody>
      </p:sp>
      <p:sp>
        <p:nvSpPr>
          <p:cNvPr id="2" name="Title 1">
            <a:extLst>
              <a:ext uri="{FF2B5EF4-FFF2-40B4-BE49-F238E27FC236}">
                <a16:creationId xmlns:a16="http://schemas.microsoft.com/office/drawing/2014/main" id="{B0CC8C8B-09B9-4488-B4C2-2786DD17AF81}"/>
              </a:ext>
            </a:extLst>
          </p:cNvPr>
          <p:cNvSpPr>
            <a:spLocks noGrp="1"/>
          </p:cNvSpPr>
          <p:nvPr>
            <p:ph type="title"/>
          </p:nvPr>
        </p:nvSpPr>
        <p:spPr>
          <a:xfrm>
            <a:off x="539999" y="540000"/>
            <a:ext cx="5556001" cy="560905"/>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44F0A8C3-4A89-41DC-AF00-056FAE090360}"/>
              </a:ext>
            </a:extLst>
          </p:cNvPr>
          <p:cNvSpPr>
            <a:spLocks noGrp="1"/>
          </p:cNvSpPr>
          <p:nvPr>
            <p:ph type="body" sz="quarter" idx="17"/>
          </p:nvPr>
        </p:nvSpPr>
        <p:spPr>
          <a:xfrm>
            <a:off x="533400" y="1100138"/>
            <a:ext cx="5556063" cy="307777"/>
          </a:xfrm>
        </p:spPr>
        <p:txBody>
          <a:bodyPr wrap="square">
            <a:spAutoFit/>
          </a:bodyPr>
          <a:lstStyle>
            <a:lvl1pPr>
              <a:defRPr b="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394169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loyds Disclaimer">
    <p:spTree>
      <p:nvGrpSpPr>
        <p:cNvPr id="1" name=""/>
        <p:cNvGrpSpPr/>
        <p:nvPr/>
      </p:nvGrpSpPr>
      <p:grpSpPr>
        <a:xfrm>
          <a:off x="0" y="0"/>
          <a:ext cx="0" cy="0"/>
          <a:chOff x="0" y="0"/>
          <a:chExt cx="0" cy="0"/>
        </a:xfrm>
      </p:grpSpPr>
      <p:sp>
        <p:nvSpPr>
          <p:cNvPr id="8" name="Rectangle 7"/>
          <p:cNvSpPr/>
          <p:nvPr userDrawn="1"/>
        </p:nvSpPr>
        <p:spPr>
          <a:xfrm>
            <a:off x="540000" y="1692000"/>
            <a:ext cx="7883238" cy="42115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2" spcCol="180000" rtlCol="0" fromWordArt="0" anchor="t" anchorCtr="0" forceAA="0" compatLnSpc="1">
            <a:prstTxWarp prst="textNoShape">
              <a:avLst/>
            </a:prstTxWarp>
            <a:noAutofit/>
          </a:bodyPr>
          <a:lstStyle/>
          <a:p>
            <a:pPr algn="l">
              <a:spcBef>
                <a:spcPts val="600"/>
              </a:spcBef>
              <a:spcAft>
                <a:spcPts val="600"/>
              </a:spcAft>
            </a:pPr>
            <a:r>
              <a:rPr lang="en-GB" sz="1400">
                <a:solidFill>
                  <a:schemeClr val="tx1"/>
                </a:solidFill>
              </a:rPr>
              <a:t>This document is not intended for distribution to, or use by, any person or entity in any jurisdiction or country where such distribution or use would be contrary to local law or regulation. It is the responsibility of any person communicating the contents of this document, or any part thereof, to ensure compliance with all applicable legal and regulatory requirements.</a:t>
            </a:r>
          </a:p>
          <a:p>
            <a:pPr algn="l">
              <a:spcBef>
                <a:spcPts val="600"/>
              </a:spcBef>
              <a:spcAft>
                <a:spcPts val="600"/>
              </a:spcAft>
            </a:pPr>
            <a:r>
              <a:rPr lang="en-GB" sz="1400">
                <a:solidFill>
                  <a:schemeClr val="tx1"/>
                </a:solidFill>
              </a:rPr>
              <a:t>The content of this document does not represent  a prospectus or invitation in connection with any solicitation of capital by Lloyds. Nor does it constitute an offer by Lloyd’s to sell securities or insurance, a solicitation of an offer to buy securities or insurance, or a distribution of securities in the United states or to a U.S. person, or in any other jurisdiction where it is contrary to local law. Such persons should inform themselves about and observe any applicable legal. </a:t>
            </a:r>
          </a:p>
          <a:p>
            <a:pPr algn="l">
              <a:spcBef>
                <a:spcPts val="600"/>
              </a:spcBef>
              <a:spcAft>
                <a:spcPts val="600"/>
              </a:spcAft>
            </a:pPr>
            <a:r>
              <a:rPr lang="en-GB" sz="1400">
                <a:solidFill>
                  <a:schemeClr val="tx1"/>
                </a:solidFill>
              </a:rPr>
              <a:t>This document has been produced by Lloyd’s for general information purposes only. While care has been taken in gathering the data and preparing this document, Lloyd’s does not make any representations or warranties as to its accuracy or completeness and expressly excludes to the maximum extent permitted by law all those that might otherwise be implied.</a:t>
            </a:r>
          </a:p>
          <a:p>
            <a:pPr algn="l">
              <a:spcBef>
                <a:spcPts val="600"/>
              </a:spcBef>
              <a:spcAft>
                <a:spcPts val="600"/>
              </a:spcAft>
            </a:pPr>
            <a:r>
              <a:rPr lang="en-GB" sz="1400">
                <a:solidFill>
                  <a:schemeClr val="tx1"/>
                </a:solidFill>
              </a:rPr>
              <a:t>Lloyd’s accepts no responsibility or liability for any loss or damage of any nature occasioned to any person as a result of the acting or refraining from acting as a result of, or in reliance on, any statement, fact, figure or expression of opinion or belief contained in this document. This document does not constitute advice of any kind.</a:t>
            </a:r>
          </a:p>
        </p:txBody>
      </p:sp>
      <p:sp>
        <p:nvSpPr>
          <p:cNvPr id="7" name="TextBox 6">
            <a:extLst>
              <a:ext uri="{FF2B5EF4-FFF2-40B4-BE49-F238E27FC236}">
                <a16:creationId xmlns:a16="http://schemas.microsoft.com/office/drawing/2014/main" id="{27E169D7-CD74-4983-A131-888AB161C3FA}"/>
              </a:ext>
            </a:extLst>
          </p:cNvPr>
          <p:cNvSpPr txBox="1">
            <a:spLocks/>
          </p:cNvSpPr>
          <p:nvPr userDrawn="1"/>
        </p:nvSpPr>
        <p:spPr>
          <a:xfrm>
            <a:off x="539999" y="540000"/>
            <a:ext cx="11160000" cy="728411"/>
          </a:xfrm>
          <a:prstGeom prst="rect">
            <a:avLst/>
          </a:prstGeom>
          <a:noFill/>
        </p:spPr>
        <p:txBody>
          <a:bodyPr wrap="square" lIns="0" tIns="0" rIns="0" bIns="0">
            <a:noAutofit/>
          </a:bodyPr>
          <a:lstStyle/>
          <a:p>
            <a:r>
              <a:rPr lang="en-GB" sz="3000" b="1"/>
              <a:t>Disclaimer</a:t>
            </a:r>
          </a:p>
        </p:txBody>
      </p:sp>
    </p:spTree>
    <p:extLst>
      <p:ext uri="{BB962C8B-B14F-4D97-AF65-F5344CB8AC3E}">
        <p14:creationId xmlns:p14="http://schemas.microsoft.com/office/powerpoint/2010/main" val="1808432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40000"/>
            <a:ext cx="11160000" cy="560905"/>
          </a:xfrm>
          <a:prstGeom prst="rect">
            <a:avLst/>
          </a:prstGeom>
        </p:spPr>
        <p:txBody>
          <a:bodyPr vert="horz" lIns="0" tIns="72000" rIns="0" bIns="72000" rtlCol="0" anchor="t">
            <a:spAutoFit/>
          </a:bodyPr>
          <a:lstStyle/>
          <a:p>
            <a:r>
              <a:rPr lang="en-US" noProof="0"/>
              <a:t>Click to edit Master title style</a:t>
            </a:r>
            <a:endParaRPr lang="en-GB" noProof="0"/>
          </a:p>
        </p:txBody>
      </p:sp>
      <p:sp>
        <p:nvSpPr>
          <p:cNvPr id="3" name="Text Placeholder 2"/>
          <p:cNvSpPr>
            <a:spLocks noGrp="1"/>
          </p:cNvSpPr>
          <p:nvPr>
            <p:ph type="body" idx="1"/>
          </p:nvPr>
        </p:nvSpPr>
        <p:spPr>
          <a:xfrm>
            <a:off x="539999" y="1638606"/>
            <a:ext cx="11160000" cy="46799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Box 16"/>
          <p:cNvSpPr txBox="1">
            <a:spLocks/>
          </p:cNvSpPr>
          <p:nvPr userDrawn="1"/>
        </p:nvSpPr>
        <p:spPr>
          <a:xfrm>
            <a:off x="11410125" y="6320362"/>
            <a:ext cx="289874" cy="252000"/>
          </a:xfrm>
          <a:prstGeom prst="rect">
            <a:avLst/>
          </a:prstGeom>
        </p:spPr>
        <p:txBody>
          <a:bodyPr vert="horz" lIns="0" tIns="0" rIns="0" bIns="0" rtlCol="0" anchor="ctr">
            <a:noAutofit/>
          </a:bodyPr>
          <a:lstStyle>
            <a:defPPr>
              <a:defRPr lang="en-US"/>
            </a:defPPr>
            <a:lvl1pPr algn="r">
              <a:defRPr sz="1000">
                <a:solidFill>
                  <a:schemeClr val="accent1"/>
                </a:solidFill>
              </a:defRPr>
            </a:lvl1pPr>
          </a:lstStyle>
          <a:p>
            <a:pPr lvl="0"/>
            <a:fld id="{377EB79C-4237-4EDF-B16A-CF67A8C936B9}" type="slidenum">
              <a:rPr lang="en-GB" sz="1200" noProof="0" smtClean="0">
                <a:solidFill>
                  <a:schemeClr val="tx1"/>
                </a:solidFill>
              </a:rPr>
              <a:pPr lvl="0"/>
              <a:t>‹#›</a:t>
            </a:fld>
            <a:endParaRPr lang="en-GB" sz="1200" noProof="0">
              <a:solidFill>
                <a:schemeClr val="tx1"/>
              </a:solidFill>
            </a:endParaRPr>
          </a:p>
        </p:txBody>
      </p:sp>
      <p:pic>
        <p:nvPicPr>
          <p:cNvPr id="24" name="Picture 23"/>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539400" y="0"/>
            <a:ext cx="910709" cy="365535"/>
          </a:xfrm>
          <a:prstGeom prst="rect">
            <a:avLst/>
          </a:prstGeom>
        </p:spPr>
      </p:pic>
      <p:sp>
        <p:nvSpPr>
          <p:cNvPr id="6" name="empower - DO NOT DELETE!!!" hidden="1"/>
          <p:cNvSpPr/>
          <p:nvPr userDrawn="1">
            <p:custDataLst>
              <p:tags r:id="rId13"/>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40392ECF-79D2-44F4-B3EA-4D457522CB06}"/>
              </a:ext>
            </a:extLst>
          </p:cNvPr>
          <p:cNvSpPr txBox="1"/>
          <p:nvPr userDrawn="1"/>
        </p:nvSpPr>
        <p:spPr>
          <a:xfrm>
            <a:off x="539400" y="6369418"/>
            <a:ext cx="1491916" cy="153888"/>
          </a:xfrm>
          <a:prstGeom prst="rect">
            <a:avLst/>
          </a:prstGeom>
          <a:noFill/>
        </p:spPr>
        <p:txBody>
          <a:bodyPr wrap="square" lIns="0" tIns="0" rIns="0" bIns="0" rtlCol="0">
            <a:spAutoFit/>
          </a:bodyPr>
          <a:lstStyle/>
          <a:p>
            <a:r>
              <a:rPr lang="en-GB" sz="1000">
                <a:solidFill>
                  <a:schemeClr val="tx1"/>
                </a:solidFill>
              </a:rPr>
              <a:t>© Lloyd’s 2021</a:t>
            </a:r>
          </a:p>
        </p:txBody>
      </p:sp>
      <p:cxnSp>
        <p:nvCxnSpPr>
          <p:cNvPr id="12" name="Straight Connector 11">
            <a:extLst>
              <a:ext uri="{FF2B5EF4-FFF2-40B4-BE49-F238E27FC236}">
                <a16:creationId xmlns:a16="http://schemas.microsoft.com/office/drawing/2014/main" id="{9D8F751A-5368-44C1-ACE0-AF82FC323B62}"/>
              </a:ext>
            </a:extLst>
          </p:cNvPr>
          <p:cNvCxnSpPr>
            <a:cxnSpLocks/>
          </p:cNvCxnSpPr>
          <p:nvPr userDrawn="1"/>
        </p:nvCxnSpPr>
        <p:spPr>
          <a:xfrm>
            <a:off x="533400" y="1431835"/>
            <a:ext cx="11160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MSIPCMContentMarking" descr="{&quot;HashCode&quot;:-829928686,&quot;Placement&quot;:&quot;Footer&quot;,&quot;Top&quot;:519.343,&quot;Left&quot;:414.413544,&quot;SlideWidth&quot;:960,&quot;SlideHeight&quot;:540}">
            <a:extLst>
              <a:ext uri="{FF2B5EF4-FFF2-40B4-BE49-F238E27FC236}">
                <a16:creationId xmlns:a16="http://schemas.microsoft.com/office/drawing/2014/main" id="{40249720-02F5-4300-A5F6-B5FDFB2A77F2}"/>
              </a:ext>
            </a:extLst>
          </p:cNvPr>
          <p:cNvSpPr txBox="1"/>
          <p:nvPr userDrawn="1"/>
        </p:nvSpPr>
        <p:spPr>
          <a:xfrm>
            <a:off x="5263052" y="6595656"/>
            <a:ext cx="1665897" cy="262344"/>
          </a:xfrm>
          <a:prstGeom prst="rect">
            <a:avLst/>
          </a:prstGeom>
          <a:noFill/>
        </p:spPr>
        <p:txBody>
          <a:bodyPr vert="horz" wrap="square" lIns="0" tIns="0" rIns="0" bIns="0" rtlCol="0" anchor="ctr" anchorCtr="1">
            <a:spAutoFit/>
          </a:bodyPr>
          <a:lstStyle/>
          <a:p>
            <a:pPr algn="ctr">
              <a:spcBef>
                <a:spcPts val="0"/>
              </a:spcBef>
              <a:spcAft>
                <a:spcPts val="0"/>
              </a:spcAft>
            </a:pPr>
            <a:r>
              <a:rPr lang="en-GB" sz="1000">
                <a:solidFill>
                  <a:srgbClr val="000000"/>
                </a:solidFill>
                <a:latin typeface="Calibri" panose="020F0502020204030204" pitchFamily="34" charset="0"/>
              </a:rPr>
              <a:t>Classification: Confidential</a:t>
            </a:r>
          </a:p>
        </p:txBody>
      </p:sp>
    </p:spTree>
    <p:extLst>
      <p:ext uri="{BB962C8B-B14F-4D97-AF65-F5344CB8AC3E}">
        <p14:creationId xmlns:p14="http://schemas.microsoft.com/office/powerpoint/2010/main" val="426955868"/>
      </p:ext>
    </p:extLst>
  </p:cSld>
  <p:clrMap bg1="lt1" tx1="dk1" bg2="lt2" tx2="dk2" accent1="accent1" accent2="accent2" accent3="accent3" accent4="accent4" accent5="accent5" accent6="accent6" hlink="hlink" folHlink="folHlink"/>
  <p:sldLayoutIdLst>
    <p:sldLayoutId id="2147483779" r:id="rId1"/>
    <p:sldLayoutId id="2147483777" r:id="rId2"/>
    <p:sldLayoutId id="2147483796" r:id="rId3"/>
    <p:sldLayoutId id="2147483719" r:id="rId4"/>
    <p:sldLayoutId id="2147483736" r:id="rId5"/>
    <p:sldLayoutId id="2147483737" r:id="rId6"/>
    <p:sldLayoutId id="2147483738" r:id="rId7"/>
    <p:sldLayoutId id="2147483739" r:id="rId8"/>
    <p:sldLayoutId id="2147483733" r:id="rId9"/>
    <p:sldLayoutId id="2147483734" r:id="rId10"/>
    <p:sldLayoutId id="2147483797" r:id="rId11"/>
  </p:sldLayoutIdLst>
  <p:hf sldNum="0" hdr="0" dt="0"/>
  <p:txStyles>
    <p:titleStyle>
      <a:lvl1pPr algn="l" defTabSz="91440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800"/>
        </a:spcBef>
        <a:spcAft>
          <a:spcPts val="0"/>
        </a:spcAft>
        <a:buFontTx/>
        <a:buNone/>
        <a:defRPr sz="200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0"/>
        </a:spcAft>
        <a:buFontTx/>
        <a:buNone/>
        <a:defRPr sz="2000" kern="1200">
          <a:solidFill>
            <a:schemeClr val="tx1"/>
          </a:solidFill>
          <a:latin typeface="+mn-lt"/>
          <a:ea typeface="+mn-ea"/>
          <a:cs typeface="+mn-cs"/>
        </a:defRPr>
      </a:lvl2pPr>
      <a:lvl3pPr marL="288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3pPr>
      <a:lvl4pPr marL="576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4pPr>
      <a:lvl5pPr marL="864000" indent="-288000" algn="l" defTabSz="914400" rtl="0" eaLnBrk="1" latinLnBrk="0" hangingPunct="1">
        <a:lnSpc>
          <a:spcPct val="100000"/>
        </a:lnSpc>
        <a:spcBef>
          <a:spcPts val="600"/>
        </a:spcBef>
        <a:spcAft>
          <a:spcPts val="0"/>
        </a:spcAft>
        <a:buClr>
          <a:schemeClr val="accent3"/>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913" userDrawn="1">
          <p15:clr>
            <a:srgbClr val="F26B43"/>
          </p15:clr>
        </p15:guide>
        <p15:guide id="1" pos="336" userDrawn="1">
          <p15:clr>
            <a:srgbClr val="F26B43"/>
          </p15:clr>
        </p15:guide>
        <p15:guide id="2" orient="horz" pos="3974" userDrawn="1">
          <p15:clr>
            <a:srgbClr val="F26B43"/>
          </p15:clr>
        </p15:guide>
        <p15:guide id="3" pos="3681" userDrawn="1">
          <p15:clr>
            <a:srgbClr val="F26B43"/>
          </p15:clr>
        </p15:guide>
        <p15:guide id="4" pos="7368" userDrawn="1">
          <p15:clr>
            <a:srgbClr val="F26B43"/>
          </p15:clr>
        </p15:guide>
        <p15:guide id="5" orient="horz" pos="346" userDrawn="1">
          <p15:clr>
            <a:srgbClr val="F26B43"/>
          </p15:clr>
        </p15:guide>
        <p15:guide id="6" orient="horz" pos="1026" userDrawn="1">
          <p15:clr>
            <a:srgbClr val="F26B43"/>
          </p15:clr>
        </p15:guide>
        <p15:guide id="7" pos="402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42.xml.rels><?xml version="1.0" encoding="UTF-8" standalone="yes"?>
<Relationships xmlns="http://schemas.openxmlformats.org/package/2006/relationships"><Relationship Id="rId3" Type="http://schemas.openxmlformats.org/officeDocument/2006/relationships/hyperlink" Target="mailto:oversightframework@lloyds.com"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12.xml"/><Relationship Id="rId7" Type="http://schemas.openxmlformats.org/officeDocument/2006/relationships/slide" Target="slide17.xml"/><Relationship Id="rId2" Type="http://schemas.openxmlformats.org/officeDocument/2006/relationships/slide" Target="slide11.xml"/><Relationship Id="rId1" Type="http://schemas.openxmlformats.org/officeDocument/2006/relationships/slideLayout" Target="../slideLayouts/slideLayout3.xml"/><Relationship Id="rId6" Type="http://schemas.openxmlformats.org/officeDocument/2006/relationships/slide" Target="slide28.xml"/><Relationship Id="rId11" Type="http://schemas.openxmlformats.org/officeDocument/2006/relationships/slide" Target="slide7.xml"/><Relationship Id="rId5" Type="http://schemas.openxmlformats.org/officeDocument/2006/relationships/slide" Target="slide10.xml"/><Relationship Id="rId10" Type="http://schemas.openxmlformats.org/officeDocument/2006/relationships/slide" Target="slide20.xml"/><Relationship Id="rId4" Type="http://schemas.openxmlformats.org/officeDocument/2006/relationships/slide" Target="slide41.xml"/><Relationship Id="rId9" Type="http://schemas.openxmlformats.org/officeDocument/2006/relationships/slide" Target="slide21.xml"/></Relationships>
</file>

<file path=ppt/slides/_rels/slide6.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12.xml"/><Relationship Id="rId7" Type="http://schemas.openxmlformats.org/officeDocument/2006/relationships/slide" Target="slide17.xml"/><Relationship Id="rId2" Type="http://schemas.openxmlformats.org/officeDocument/2006/relationships/slide" Target="slide11.xml"/><Relationship Id="rId1" Type="http://schemas.openxmlformats.org/officeDocument/2006/relationships/slideLayout" Target="../slideLayouts/slideLayout3.xml"/><Relationship Id="rId6" Type="http://schemas.openxmlformats.org/officeDocument/2006/relationships/slide" Target="slide28.xml"/><Relationship Id="rId11" Type="http://schemas.openxmlformats.org/officeDocument/2006/relationships/slide" Target="slide7.xml"/><Relationship Id="rId5" Type="http://schemas.openxmlformats.org/officeDocument/2006/relationships/slide" Target="slide10.xml"/><Relationship Id="rId10" Type="http://schemas.openxmlformats.org/officeDocument/2006/relationships/slide" Target="slide20.xml"/><Relationship Id="rId4" Type="http://schemas.openxmlformats.org/officeDocument/2006/relationships/slide" Target="slide41.xml"/><Relationship Id="rId9" Type="http://schemas.openxmlformats.org/officeDocument/2006/relationships/slide" Target="slide21.xml"/></Relationships>
</file>

<file path=ppt/slides/_rels/slide7.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12.xml"/><Relationship Id="rId7" Type="http://schemas.openxmlformats.org/officeDocument/2006/relationships/slide" Target="slide17.xml"/><Relationship Id="rId2" Type="http://schemas.openxmlformats.org/officeDocument/2006/relationships/slide" Target="slide11.xml"/><Relationship Id="rId1" Type="http://schemas.openxmlformats.org/officeDocument/2006/relationships/slideLayout" Target="../slideLayouts/slideLayout3.xml"/><Relationship Id="rId6" Type="http://schemas.openxmlformats.org/officeDocument/2006/relationships/slide" Target="slide28.xml"/><Relationship Id="rId11" Type="http://schemas.openxmlformats.org/officeDocument/2006/relationships/slide" Target="slide7.xml"/><Relationship Id="rId5" Type="http://schemas.openxmlformats.org/officeDocument/2006/relationships/slide" Target="slide10.xml"/><Relationship Id="rId10" Type="http://schemas.openxmlformats.org/officeDocument/2006/relationships/slide" Target="slide20.xml"/><Relationship Id="rId4" Type="http://schemas.openxmlformats.org/officeDocument/2006/relationships/slide" Target="slide41.xml"/><Relationship Id="rId9" Type="http://schemas.openxmlformats.org/officeDocument/2006/relationships/slide" Target="slide21.xml"/></Relationships>
</file>

<file path=ppt/slides/_rels/slide8.xml.rels><?xml version="1.0" encoding="UTF-8" standalone="yes"?>
<Relationships xmlns="http://schemas.openxmlformats.org/package/2006/relationships"><Relationship Id="rId8" Type="http://schemas.openxmlformats.org/officeDocument/2006/relationships/slide" Target="slide26.xml"/><Relationship Id="rId3" Type="http://schemas.openxmlformats.org/officeDocument/2006/relationships/slide" Target="slide12.xml"/><Relationship Id="rId7" Type="http://schemas.openxmlformats.org/officeDocument/2006/relationships/slide" Target="slide17.xml"/><Relationship Id="rId2" Type="http://schemas.openxmlformats.org/officeDocument/2006/relationships/slide" Target="slide11.xml"/><Relationship Id="rId1" Type="http://schemas.openxmlformats.org/officeDocument/2006/relationships/slideLayout" Target="../slideLayouts/slideLayout3.xml"/><Relationship Id="rId6" Type="http://schemas.openxmlformats.org/officeDocument/2006/relationships/slide" Target="slide28.xml"/><Relationship Id="rId11" Type="http://schemas.openxmlformats.org/officeDocument/2006/relationships/slide" Target="slide7.xml"/><Relationship Id="rId5" Type="http://schemas.openxmlformats.org/officeDocument/2006/relationships/slide" Target="slide10.xml"/><Relationship Id="rId10" Type="http://schemas.openxmlformats.org/officeDocument/2006/relationships/slide" Target="slide20.xml"/><Relationship Id="rId4" Type="http://schemas.openxmlformats.org/officeDocument/2006/relationships/slide" Target="slide41.xml"/><Relationship Id="rId9" Type="http://schemas.openxmlformats.org/officeDocument/2006/relationships/slide" Target="slide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7F77F9AC-0DE2-4942-8424-D89EED7C0510}"/>
              </a:ext>
            </a:extLst>
          </p:cNvPr>
          <p:cNvSpPr>
            <a:spLocks noGrp="1"/>
          </p:cNvSpPr>
          <p:nvPr>
            <p:ph type="subTitle" idx="1"/>
          </p:nvPr>
        </p:nvSpPr>
        <p:spPr>
          <a:xfrm>
            <a:off x="539400" y="4302143"/>
            <a:ext cx="11160000" cy="996033"/>
          </a:xfrm>
        </p:spPr>
        <p:txBody>
          <a:bodyPr vert="horz" lIns="0" tIns="0" rIns="0" bIns="72000" rtlCol="0" anchor="t">
            <a:spAutoFit/>
          </a:bodyPr>
          <a:lstStyle/>
          <a:p>
            <a:r>
              <a:rPr lang="en-GB"/>
              <a:t>24</a:t>
            </a:r>
            <a:r>
              <a:rPr lang="en-GB" baseline="30000"/>
              <a:t>th</a:t>
            </a:r>
            <a:r>
              <a:rPr lang="en-GB"/>
              <a:t> February 2022</a:t>
            </a:r>
          </a:p>
          <a:p>
            <a:endParaRPr lang="en-GB"/>
          </a:p>
          <a:p>
            <a:r>
              <a:rPr lang="en-GB"/>
              <a:t>Lyndsay </a:t>
            </a:r>
            <a:r>
              <a:rPr lang="en-GB" err="1"/>
              <a:t>Deeves</a:t>
            </a:r>
            <a:r>
              <a:rPr lang="en-GB"/>
              <a:t>, Dominic Thomas and Keely Edwards</a:t>
            </a:r>
            <a:endParaRPr lang="en-GB">
              <a:highlight>
                <a:srgbClr val="FFFF00"/>
              </a:highlight>
              <a:cs typeface="Arial"/>
            </a:endParaRPr>
          </a:p>
        </p:txBody>
      </p:sp>
      <p:sp>
        <p:nvSpPr>
          <p:cNvPr id="3" name="Text Placeholder 2">
            <a:extLst>
              <a:ext uri="{FF2B5EF4-FFF2-40B4-BE49-F238E27FC236}">
                <a16:creationId xmlns:a16="http://schemas.microsoft.com/office/drawing/2014/main" id="{6C56B5E8-5D3F-488E-8488-B9CC5B702C91}"/>
              </a:ext>
            </a:extLst>
          </p:cNvPr>
          <p:cNvSpPr>
            <a:spLocks noGrp="1"/>
          </p:cNvSpPr>
          <p:nvPr>
            <p:ph type="body" sz="quarter" idx="10"/>
          </p:nvPr>
        </p:nvSpPr>
        <p:spPr>
          <a:xfrm>
            <a:off x="533400" y="2193925"/>
            <a:ext cx="11160125" cy="1743075"/>
          </a:xfrm>
        </p:spPr>
        <p:txBody>
          <a:bodyPr/>
          <a:lstStyle/>
          <a:p>
            <a:r>
              <a:rPr lang="en-GB"/>
              <a:t>Project Rio Technical Briefing Sessions</a:t>
            </a:r>
          </a:p>
          <a:p>
            <a:pPr lvl="1"/>
            <a:r>
              <a:rPr lang="en-GB"/>
              <a:t>Outwards Reinsurance  </a:t>
            </a:r>
          </a:p>
        </p:txBody>
      </p:sp>
    </p:spTree>
    <p:extLst>
      <p:ext uri="{BB962C8B-B14F-4D97-AF65-F5344CB8AC3E}">
        <p14:creationId xmlns:p14="http://schemas.microsoft.com/office/powerpoint/2010/main" val="23716844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9DFB9E-D202-45D1-86FF-28B3DAA96CB2}"/>
              </a:ext>
            </a:extLst>
          </p:cNvPr>
          <p:cNvSpPr>
            <a:spLocks noGrp="1"/>
          </p:cNvSpPr>
          <p:nvPr>
            <p:ph type="title"/>
          </p:nvPr>
        </p:nvSpPr>
        <p:spPr/>
        <p:txBody>
          <a:bodyPr/>
          <a:lstStyle/>
          <a:p>
            <a:r>
              <a:rPr lang="en-GB"/>
              <a:t>Oversight Framework</a:t>
            </a:r>
          </a:p>
        </p:txBody>
      </p:sp>
      <p:sp>
        <p:nvSpPr>
          <p:cNvPr id="5" name="Text Placeholder 4">
            <a:extLst>
              <a:ext uri="{FF2B5EF4-FFF2-40B4-BE49-F238E27FC236}">
                <a16:creationId xmlns:a16="http://schemas.microsoft.com/office/drawing/2014/main" id="{0B6ECFA7-E750-4B89-B334-10F8A7964541}"/>
              </a:ext>
            </a:extLst>
          </p:cNvPr>
          <p:cNvSpPr>
            <a:spLocks noGrp="1"/>
          </p:cNvSpPr>
          <p:nvPr>
            <p:ph type="body" sz="quarter" idx="17"/>
          </p:nvPr>
        </p:nvSpPr>
        <p:spPr>
          <a:xfrm>
            <a:off x="533400" y="1100138"/>
            <a:ext cx="11160125" cy="307777"/>
          </a:xfrm>
        </p:spPr>
        <p:txBody>
          <a:bodyPr/>
          <a:lstStyle/>
          <a:p>
            <a:r>
              <a:rPr lang="en-GB">
                <a:solidFill>
                  <a:schemeClr val="accent3"/>
                </a:solidFill>
              </a:rPr>
              <a:t>The 13 Lloyd’s Principles</a:t>
            </a:r>
            <a:endParaRPr lang="en-GB"/>
          </a:p>
        </p:txBody>
      </p:sp>
      <p:sp>
        <p:nvSpPr>
          <p:cNvPr id="7" name="Rectangle 6">
            <a:extLst>
              <a:ext uri="{FF2B5EF4-FFF2-40B4-BE49-F238E27FC236}">
                <a16:creationId xmlns:a16="http://schemas.microsoft.com/office/drawing/2014/main" id="{A6B1A74C-12F0-4BF6-8E96-E1A53C8EB182}"/>
              </a:ext>
            </a:extLst>
          </p:cNvPr>
          <p:cNvSpPr/>
          <p:nvPr/>
        </p:nvSpPr>
        <p:spPr>
          <a:xfrm>
            <a:off x="365356" y="1632449"/>
            <a:ext cx="305269" cy="4359803"/>
          </a:xfrm>
          <a:prstGeom prst="rect">
            <a:avLst/>
          </a:prstGeom>
          <a:solidFill>
            <a:srgbClr val="282F54"/>
          </a:solidFill>
          <a:ln w="12700" cap="flat" cmpd="sng" algn="ctr">
            <a:noFill/>
            <a:prstDash val="solid"/>
            <a:miter lim="800000"/>
          </a:ln>
          <a:effectLst/>
        </p:spPr>
        <p:txBody>
          <a:bodyPr vert="vert270" wrap="square" rtlCol="0" anchor="t">
            <a:noAutofit/>
          </a:bodyP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PERFORMANCE </a:t>
            </a:r>
          </a:p>
        </p:txBody>
      </p:sp>
      <p:sp>
        <p:nvSpPr>
          <p:cNvPr id="8" name="Rectangle 7">
            <a:hlinkClick r:id="" action="ppaction://noaction"/>
            <a:extLst>
              <a:ext uri="{FF2B5EF4-FFF2-40B4-BE49-F238E27FC236}">
                <a16:creationId xmlns:a16="http://schemas.microsoft.com/office/drawing/2014/main" id="{232CD1F7-8411-41A5-BDF9-7E60BC6D77D9}"/>
              </a:ext>
            </a:extLst>
          </p:cNvPr>
          <p:cNvSpPr/>
          <p:nvPr/>
        </p:nvSpPr>
        <p:spPr>
          <a:xfrm>
            <a:off x="716142" y="2469184"/>
            <a:ext cx="1130751" cy="597403"/>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2. Catastrophe Exposure</a:t>
            </a:r>
          </a:p>
        </p:txBody>
      </p:sp>
      <p:sp>
        <p:nvSpPr>
          <p:cNvPr id="9" name="Rectangle 8">
            <a:hlinkClick r:id="" action="ppaction://noaction"/>
            <a:extLst>
              <a:ext uri="{FF2B5EF4-FFF2-40B4-BE49-F238E27FC236}">
                <a16:creationId xmlns:a16="http://schemas.microsoft.com/office/drawing/2014/main" id="{6CDB7DF6-EC33-4D0A-85B9-F467EE81B8F5}"/>
              </a:ext>
            </a:extLst>
          </p:cNvPr>
          <p:cNvSpPr/>
          <p:nvPr/>
        </p:nvSpPr>
        <p:spPr>
          <a:xfrm>
            <a:off x="716142" y="3122756"/>
            <a:ext cx="1130751" cy="597433"/>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3. Outwards Reinsurance </a:t>
            </a:r>
          </a:p>
        </p:txBody>
      </p:sp>
      <p:sp>
        <p:nvSpPr>
          <p:cNvPr id="41" name="Rectangle 40">
            <a:hlinkClick r:id="" action="ppaction://noaction"/>
            <a:extLst>
              <a:ext uri="{FF2B5EF4-FFF2-40B4-BE49-F238E27FC236}">
                <a16:creationId xmlns:a16="http://schemas.microsoft.com/office/drawing/2014/main" id="{1C938043-616B-4BE1-9EA2-7D9563534533}"/>
              </a:ext>
            </a:extLst>
          </p:cNvPr>
          <p:cNvSpPr/>
          <p:nvPr/>
        </p:nvSpPr>
        <p:spPr>
          <a:xfrm>
            <a:off x="1872329" y="3794193"/>
            <a:ext cx="3832411" cy="788195"/>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p>
            <a:pPr>
              <a:spcAft>
                <a:spcPts val="600"/>
              </a:spcAft>
            </a:pPr>
            <a:r>
              <a:rPr lang="en-GB" sz="1000" kern="0">
                <a:solidFill>
                  <a:prstClr val="black"/>
                </a:solidFill>
                <a:ea typeface="+mn-lt"/>
                <a:cs typeface="Arial"/>
              </a:rPr>
              <a:t>Managing agents should ensure that they have a claims commitment in place which is designed to deliver a high-quality claims service which includes a prompt and fair customer service, efficient and effective claims handling, and compliance with legal and regulatory obligations.</a:t>
            </a:r>
          </a:p>
        </p:txBody>
      </p:sp>
      <p:sp>
        <p:nvSpPr>
          <p:cNvPr id="42" name="Rectangle 41">
            <a:hlinkClick r:id="" action="ppaction://noaction"/>
            <a:extLst>
              <a:ext uri="{FF2B5EF4-FFF2-40B4-BE49-F238E27FC236}">
                <a16:creationId xmlns:a16="http://schemas.microsoft.com/office/drawing/2014/main" id="{AD96FD6E-6D4C-45EF-8993-61CBE50A16B4}"/>
              </a:ext>
            </a:extLst>
          </p:cNvPr>
          <p:cNvSpPr/>
          <p:nvPr/>
        </p:nvSpPr>
        <p:spPr>
          <a:xfrm>
            <a:off x="716142" y="3787457"/>
            <a:ext cx="1130751" cy="794931"/>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4. Claims Management </a:t>
            </a:r>
          </a:p>
        </p:txBody>
      </p:sp>
      <p:sp>
        <p:nvSpPr>
          <p:cNvPr id="39" name="Rectangle 38">
            <a:hlinkClick r:id="" action="ppaction://noaction"/>
            <a:extLst>
              <a:ext uri="{FF2B5EF4-FFF2-40B4-BE49-F238E27FC236}">
                <a16:creationId xmlns:a16="http://schemas.microsoft.com/office/drawing/2014/main" id="{A8765242-8ABD-4873-B2CB-6814AE443200}"/>
              </a:ext>
            </a:extLst>
          </p:cNvPr>
          <p:cNvSpPr/>
          <p:nvPr/>
        </p:nvSpPr>
        <p:spPr>
          <a:xfrm>
            <a:off x="1872329" y="4647188"/>
            <a:ext cx="3832411" cy="662806"/>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p>
            <a:pPr>
              <a:spcAft>
                <a:spcPts val="600"/>
              </a:spcAft>
            </a:pPr>
            <a:r>
              <a:rPr lang="en-GB" sz="1000" kern="0">
                <a:solidFill>
                  <a:prstClr val="black"/>
                </a:solidFill>
                <a:ea typeface="+mn-lt"/>
                <a:cs typeface="Arial"/>
              </a:rPr>
              <a:t>Managing agents should embed a culture and associated behaviours throughout their business to ensure that they consistently focus on good customer outcomes and that products provide fair value. </a:t>
            </a:r>
          </a:p>
        </p:txBody>
      </p:sp>
      <p:sp>
        <p:nvSpPr>
          <p:cNvPr id="40" name="Rectangle 39">
            <a:hlinkClick r:id="" action="ppaction://noaction"/>
            <a:extLst>
              <a:ext uri="{FF2B5EF4-FFF2-40B4-BE49-F238E27FC236}">
                <a16:creationId xmlns:a16="http://schemas.microsoft.com/office/drawing/2014/main" id="{281AB9B9-4309-4474-B176-9FEEA998626A}"/>
              </a:ext>
            </a:extLst>
          </p:cNvPr>
          <p:cNvSpPr/>
          <p:nvPr/>
        </p:nvSpPr>
        <p:spPr>
          <a:xfrm>
            <a:off x="716143" y="4639658"/>
            <a:ext cx="1130750" cy="681016"/>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5. Customer Outcomes </a:t>
            </a:r>
          </a:p>
        </p:txBody>
      </p:sp>
      <p:sp>
        <p:nvSpPr>
          <p:cNvPr id="12" name="Rectangle 11">
            <a:hlinkClick r:id="" action="ppaction://noaction"/>
            <a:extLst>
              <a:ext uri="{FF2B5EF4-FFF2-40B4-BE49-F238E27FC236}">
                <a16:creationId xmlns:a16="http://schemas.microsoft.com/office/drawing/2014/main" id="{4367AD6A-3DCF-4692-9A34-F30EFD8F209D}"/>
              </a:ext>
            </a:extLst>
          </p:cNvPr>
          <p:cNvSpPr/>
          <p:nvPr/>
        </p:nvSpPr>
        <p:spPr>
          <a:xfrm>
            <a:off x="716143" y="1632450"/>
            <a:ext cx="1130750" cy="756188"/>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1. Underwriting Profitability </a:t>
            </a:r>
          </a:p>
        </p:txBody>
      </p:sp>
      <p:sp>
        <p:nvSpPr>
          <p:cNvPr id="37" name="Rectangle 36">
            <a:hlinkClick r:id="" action="ppaction://noaction"/>
            <a:extLst>
              <a:ext uri="{FF2B5EF4-FFF2-40B4-BE49-F238E27FC236}">
                <a16:creationId xmlns:a16="http://schemas.microsoft.com/office/drawing/2014/main" id="{7794863E-11C2-407F-829D-4E1566D0D28A}"/>
              </a:ext>
            </a:extLst>
          </p:cNvPr>
          <p:cNvSpPr/>
          <p:nvPr/>
        </p:nvSpPr>
        <p:spPr>
          <a:xfrm>
            <a:off x="1872329" y="5381978"/>
            <a:ext cx="3831255" cy="605966"/>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p>
            <a:pPr>
              <a:spcAft>
                <a:spcPts val="600"/>
              </a:spcAft>
            </a:pPr>
            <a:r>
              <a:rPr lang="en-GB" sz="1000" kern="0">
                <a:solidFill>
                  <a:prstClr val="black"/>
                </a:solidFill>
                <a:ea typeface="+mn-lt"/>
                <a:cs typeface="Arial"/>
              </a:rPr>
              <a:t>Managing agents should ensure syndicates set reserves which are underpinned by a robust reserving process. All Actuarial Function requirements should be met in line with Solvency II.</a:t>
            </a:r>
          </a:p>
        </p:txBody>
      </p:sp>
      <p:sp>
        <p:nvSpPr>
          <p:cNvPr id="38" name="Rectangle 37">
            <a:hlinkClick r:id="" action="ppaction://noaction"/>
            <a:extLst>
              <a:ext uri="{FF2B5EF4-FFF2-40B4-BE49-F238E27FC236}">
                <a16:creationId xmlns:a16="http://schemas.microsoft.com/office/drawing/2014/main" id="{93681280-F5A8-4FC7-90C2-48B1B6409D6B}"/>
              </a:ext>
            </a:extLst>
          </p:cNvPr>
          <p:cNvSpPr/>
          <p:nvPr/>
        </p:nvSpPr>
        <p:spPr>
          <a:xfrm>
            <a:off x="716142" y="5383384"/>
            <a:ext cx="1130751" cy="608868"/>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6. Reserving </a:t>
            </a:r>
          </a:p>
        </p:txBody>
      </p:sp>
      <p:sp>
        <p:nvSpPr>
          <p:cNvPr id="14" name="Rectangle 13">
            <a:extLst>
              <a:ext uri="{FF2B5EF4-FFF2-40B4-BE49-F238E27FC236}">
                <a16:creationId xmlns:a16="http://schemas.microsoft.com/office/drawing/2014/main" id="{572EE5B0-C654-4B03-9553-E37B6E0609EA}"/>
              </a:ext>
            </a:extLst>
          </p:cNvPr>
          <p:cNvSpPr/>
          <p:nvPr/>
        </p:nvSpPr>
        <p:spPr>
          <a:xfrm>
            <a:off x="5788043" y="1632450"/>
            <a:ext cx="305269" cy="1729312"/>
          </a:xfrm>
          <a:prstGeom prst="rect">
            <a:avLst/>
          </a:prstGeom>
          <a:solidFill>
            <a:srgbClr val="00CBB6"/>
          </a:solidFill>
          <a:ln w="12700" cap="flat" cmpd="sng" algn="ctr">
            <a:noFill/>
            <a:prstDash val="solid"/>
            <a:miter lim="800000"/>
          </a:ln>
          <a:effectLst/>
        </p:spPr>
        <p:txBody>
          <a:bodyPr vert="vert270" wrap="square" rtlCol="0" anchor="t">
            <a:noAutofit/>
          </a:bodyP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SOLVENCY </a:t>
            </a:r>
          </a:p>
        </p:txBody>
      </p:sp>
      <p:sp>
        <p:nvSpPr>
          <p:cNvPr id="35" name="Rectangle 34">
            <a:hlinkClick r:id="" action="ppaction://noaction"/>
            <a:extLst>
              <a:ext uri="{FF2B5EF4-FFF2-40B4-BE49-F238E27FC236}">
                <a16:creationId xmlns:a16="http://schemas.microsoft.com/office/drawing/2014/main" id="{66D12C8F-9687-49F5-B91C-3D8689A46F37}"/>
              </a:ext>
            </a:extLst>
          </p:cNvPr>
          <p:cNvSpPr/>
          <p:nvPr/>
        </p:nvSpPr>
        <p:spPr>
          <a:xfrm>
            <a:off x="7386750" y="2250532"/>
            <a:ext cx="4397075" cy="501446"/>
          </a:xfrm>
          <a:prstGeom prst="rect">
            <a:avLst/>
          </a:prstGeom>
          <a:solidFill>
            <a:sysClr val="window" lastClr="FFFFFF"/>
          </a:solidFill>
          <a:ln w="12700" cap="flat" cmpd="sng" algn="ctr">
            <a:solidFill>
              <a:srgbClr val="78E0C2">
                <a:lumMod val="60000"/>
                <a:lumOff val="4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ensure syndicate investment risk is effectively controlled, informed by wider business strategy and adheres to the Prudent Person Principle (PPP) requirements​.​</a:t>
            </a:r>
          </a:p>
        </p:txBody>
      </p:sp>
      <p:sp>
        <p:nvSpPr>
          <p:cNvPr id="36" name="Rectangle 35">
            <a:hlinkClick r:id="" action="ppaction://noaction"/>
            <a:extLst>
              <a:ext uri="{FF2B5EF4-FFF2-40B4-BE49-F238E27FC236}">
                <a16:creationId xmlns:a16="http://schemas.microsoft.com/office/drawing/2014/main" id="{B01BEC0C-B17D-4417-852D-BF839E822AD6}"/>
              </a:ext>
            </a:extLst>
          </p:cNvPr>
          <p:cNvSpPr/>
          <p:nvPr/>
        </p:nvSpPr>
        <p:spPr>
          <a:xfrm>
            <a:off x="6140294" y="2250532"/>
            <a:ext cx="1190956" cy="514152"/>
          </a:xfrm>
          <a:prstGeom prst="rect">
            <a:avLst/>
          </a:prstGeom>
          <a:solidFill>
            <a:srgbClr val="7FE5DA"/>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8. Investment </a:t>
            </a:r>
          </a:p>
        </p:txBody>
      </p:sp>
      <p:sp>
        <p:nvSpPr>
          <p:cNvPr id="33" name="Rectangle 32">
            <a:hlinkClick r:id="" action="ppaction://noaction"/>
            <a:extLst>
              <a:ext uri="{FF2B5EF4-FFF2-40B4-BE49-F238E27FC236}">
                <a16:creationId xmlns:a16="http://schemas.microsoft.com/office/drawing/2014/main" id="{204FC21B-2247-438F-94B3-6344A32005F5}"/>
              </a:ext>
            </a:extLst>
          </p:cNvPr>
          <p:cNvSpPr/>
          <p:nvPr/>
        </p:nvSpPr>
        <p:spPr>
          <a:xfrm>
            <a:off x="7386750" y="1648870"/>
            <a:ext cx="4397075" cy="501447"/>
          </a:xfrm>
          <a:prstGeom prst="rect">
            <a:avLst/>
          </a:prstGeom>
          <a:solidFill>
            <a:sysClr val="window" lastClr="FFFFFF"/>
          </a:solidFill>
          <a:ln w="12700" cap="flat" cmpd="sng" algn="ctr">
            <a:solidFill>
              <a:srgbClr val="78E0C2">
                <a:lumMod val="60000"/>
                <a:lumOff val="4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ensure syndicates' Solvency Capital Requirement (SCR) appropriately reflects their risk profile and is calculated using a Solvency II compliant internal model. </a:t>
            </a:r>
          </a:p>
        </p:txBody>
      </p:sp>
      <p:sp>
        <p:nvSpPr>
          <p:cNvPr id="34" name="Rectangle 33">
            <a:hlinkClick r:id="" action="ppaction://noaction"/>
            <a:extLst>
              <a:ext uri="{FF2B5EF4-FFF2-40B4-BE49-F238E27FC236}">
                <a16:creationId xmlns:a16="http://schemas.microsoft.com/office/drawing/2014/main" id="{AA19A9F8-2521-4BD2-8FF7-410DEEFA10AC}"/>
              </a:ext>
            </a:extLst>
          </p:cNvPr>
          <p:cNvSpPr/>
          <p:nvPr/>
        </p:nvSpPr>
        <p:spPr>
          <a:xfrm>
            <a:off x="6140294" y="1632449"/>
            <a:ext cx="1190956" cy="569865"/>
          </a:xfrm>
          <a:prstGeom prst="rect">
            <a:avLst/>
          </a:prstGeom>
          <a:solidFill>
            <a:srgbClr val="7FE5DA"/>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7. Capital </a:t>
            </a:r>
          </a:p>
        </p:txBody>
      </p:sp>
      <p:sp>
        <p:nvSpPr>
          <p:cNvPr id="31" name="Rectangle 30">
            <a:hlinkClick r:id="" action="ppaction://noaction"/>
            <a:extLst>
              <a:ext uri="{FF2B5EF4-FFF2-40B4-BE49-F238E27FC236}">
                <a16:creationId xmlns:a16="http://schemas.microsoft.com/office/drawing/2014/main" id="{847E51B3-9E0E-4823-9021-062B6B60EB44}"/>
              </a:ext>
            </a:extLst>
          </p:cNvPr>
          <p:cNvSpPr/>
          <p:nvPr/>
        </p:nvSpPr>
        <p:spPr>
          <a:xfrm>
            <a:off x="7386750" y="2835865"/>
            <a:ext cx="4397075" cy="501447"/>
          </a:xfrm>
          <a:prstGeom prst="rect">
            <a:avLst/>
          </a:prstGeom>
          <a:solidFill>
            <a:sysClr val="window" lastClr="FFFFFF"/>
          </a:solidFill>
          <a:ln w="12700" cap="flat" cmpd="sng" algn="ctr">
            <a:solidFill>
              <a:srgbClr val="78E0C2">
                <a:lumMod val="60000"/>
                <a:lumOff val="4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ensure syndicates have contractual access to sufficient liquidity in order to withstand a severe liquidity event (defined by Lloyd’s), underpinned by a robust liquidity risk management framework​. ​​​</a:t>
            </a:r>
          </a:p>
        </p:txBody>
      </p:sp>
      <p:sp>
        <p:nvSpPr>
          <p:cNvPr id="32" name="Rectangle 31">
            <a:hlinkClick r:id="" action="ppaction://noaction"/>
            <a:extLst>
              <a:ext uri="{FF2B5EF4-FFF2-40B4-BE49-F238E27FC236}">
                <a16:creationId xmlns:a16="http://schemas.microsoft.com/office/drawing/2014/main" id="{B33EFD7D-DB5E-470D-AAFB-4A8514C0153E}"/>
              </a:ext>
            </a:extLst>
          </p:cNvPr>
          <p:cNvSpPr/>
          <p:nvPr/>
        </p:nvSpPr>
        <p:spPr>
          <a:xfrm>
            <a:off x="6140293" y="2838005"/>
            <a:ext cx="1190956" cy="514151"/>
          </a:xfrm>
          <a:prstGeom prst="rect">
            <a:avLst/>
          </a:prstGeom>
          <a:solidFill>
            <a:srgbClr val="7FE5DA"/>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9. Liquidity </a:t>
            </a:r>
          </a:p>
        </p:txBody>
      </p:sp>
      <p:sp>
        <p:nvSpPr>
          <p:cNvPr id="18" name="Rectangle 17">
            <a:extLst>
              <a:ext uri="{FF2B5EF4-FFF2-40B4-BE49-F238E27FC236}">
                <a16:creationId xmlns:a16="http://schemas.microsoft.com/office/drawing/2014/main" id="{D74BDE62-1F6D-4E74-8F3D-0AFCA767BB26}"/>
              </a:ext>
            </a:extLst>
          </p:cNvPr>
          <p:cNvSpPr/>
          <p:nvPr/>
        </p:nvSpPr>
        <p:spPr>
          <a:xfrm>
            <a:off x="5788043" y="3426741"/>
            <a:ext cx="305269" cy="2565512"/>
          </a:xfrm>
          <a:prstGeom prst="rect">
            <a:avLst/>
          </a:prstGeom>
          <a:solidFill>
            <a:srgbClr val="FF5241"/>
          </a:solidFill>
          <a:ln w="12700" cap="flat" cmpd="sng" algn="ctr">
            <a:noFill/>
            <a:prstDash val="solid"/>
            <a:miter lim="800000"/>
          </a:ln>
          <a:effectLst/>
        </p:spPr>
        <p:txBody>
          <a:bodyPr vert="vert270" wrap="square" rtlCol="0" anchor="t">
            <a:noAutofit/>
          </a:bodyPr>
          <a:lstStyle/>
          <a:p>
            <a:pPr marL="0" marR="0" lvl="0" indent="0" algn="ctr" defTabSz="51435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prstClr val="white"/>
                </a:solidFill>
                <a:effectLst/>
                <a:uLnTx/>
                <a:uFillTx/>
              </a:rPr>
              <a:t>OPERATIONAL</a:t>
            </a:r>
          </a:p>
        </p:txBody>
      </p:sp>
      <p:sp>
        <p:nvSpPr>
          <p:cNvPr id="29" name="Rectangle 28">
            <a:hlinkClick r:id="" action="ppaction://noaction"/>
            <a:extLst>
              <a:ext uri="{FF2B5EF4-FFF2-40B4-BE49-F238E27FC236}">
                <a16:creationId xmlns:a16="http://schemas.microsoft.com/office/drawing/2014/main" id="{8BFC9157-05EC-4D36-87CE-D8F0B779FF2C}"/>
              </a:ext>
            </a:extLst>
          </p:cNvPr>
          <p:cNvSpPr/>
          <p:nvPr/>
        </p:nvSpPr>
        <p:spPr>
          <a:xfrm>
            <a:off x="7386750" y="4161030"/>
            <a:ext cx="4397075" cy="835743"/>
          </a:xfrm>
          <a:prstGeom prst="rect">
            <a:avLst/>
          </a:prstGeom>
          <a:solidFill>
            <a:sysClr val="window" lastClr="FFFFFF"/>
          </a:solidFill>
          <a:ln w="12700" cap="flat" cmpd="sng" algn="ctr">
            <a:solidFill>
              <a:srgbClr val="FF5A00">
                <a:lumMod val="20000"/>
                <a:lumOff val="8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have robust frameworks in place to assess and address regulatory and financial crime risks arising from their UK and international businesses. Frameworks should support compliance with law, regulation and guidance, and allow for well informed, transparent relationships with Lloyd’s and applicable regulators. </a:t>
            </a:r>
          </a:p>
        </p:txBody>
      </p:sp>
      <p:sp>
        <p:nvSpPr>
          <p:cNvPr id="30" name="Rectangle 29">
            <a:hlinkClick r:id="" action="ppaction://noaction"/>
            <a:extLst>
              <a:ext uri="{FF2B5EF4-FFF2-40B4-BE49-F238E27FC236}">
                <a16:creationId xmlns:a16="http://schemas.microsoft.com/office/drawing/2014/main" id="{9978DEAB-2DB9-4AC9-95C7-7DFD73E9A6E1}"/>
              </a:ext>
            </a:extLst>
          </p:cNvPr>
          <p:cNvSpPr/>
          <p:nvPr/>
        </p:nvSpPr>
        <p:spPr>
          <a:xfrm>
            <a:off x="6140291" y="4162813"/>
            <a:ext cx="1190957" cy="835742"/>
          </a:xfrm>
          <a:prstGeom prst="rect">
            <a:avLst/>
          </a:prstGeom>
          <a:solidFill>
            <a:srgbClr val="FF5241">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11. Regulatory and Financial Crime </a:t>
            </a:r>
          </a:p>
        </p:txBody>
      </p:sp>
      <p:sp>
        <p:nvSpPr>
          <p:cNvPr id="27" name="Rectangle 26">
            <a:hlinkClick r:id="" action="ppaction://noaction"/>
            <a:extLst>
              <a:ext uri="{FF2B5EF4-FFF2-40B4-BE49-F238E27FC236}">
                <a16:creationId xmlns:a16="http://schemas.microsoft.com/office/drawing/2014/main" id="{FA036F05-E358-4297-A6FB-A1BCCC867931}"/>
              </a:ext>
            </a:extLst>
          </p:cNvPr>
          <p:cNvSpPr/>
          <p:nvPr/>
        </p:nvSpPr>
        <p:spPr>
          <a:xfrm>
            <a:off x="7386750" y="5052463"/>
            <a:ext cx="4397075" cy="461665"/>
          </a:xfrm>
          <a:prstGeom prst="rect">
            <a:avLst/>
          </a:prstGeom>
          <a:solidFill>
            <a:sysClr val="window" lastClr="FFFFFF"/>
          </a:solidFill>
          <a:ln w="12700" cap="flat" cmpd="sng" algn="ctr">
            <a:solidFill>
              <a:srgbClr val="FF5A00">
                <a:lumMod val="20000"/>
                <a:lumOff val="8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maintain robust and resilient operations, embedding cyber resilience and effective third-party risk management​.</a:t>
            </a:r>
          </a:p>
          <a:p>
            <a:pPr marL="0" marR="0" lvl="0" indent="0" defTabSz="914400" eaLnBrk="1" fontAlgn="auto" latinLnBrk="0" hangingPunct="1">
              <a:lnSpc>
                <a:spcPct val="100000"/>
              </a:lnSpc>
              <a:spcBef>
                <a:spcPts val="0"/>
              </a:spcBef>
              <a:spcAft>
                <a:spcPts val="600"/>
              </a:spcAft>
              <a:buClrTx/>
              <a:buSzTx/>
              <a:buFontTx/>
              <a:buNone/>
              <a:tabLst/>
              <a:defRPr/>
            </a:pPr>
            <a:endParaRPr kumimoji="0" lang="en-GB" sz="500" b="0" i="0" u="none" strike="noStrike" kern="0" cap="none" spc="0" normalizeH="0" baseline="0" noProof="0">
              <a:ln>
                <a:noFill/>
              </a:ln>
              <a:solidFill>
                <a:prstClr val="black"/>
              </a:solidFill>
              <a:effectLst/>
              <a:uLnTx/>
              <a:uFillTx/>
              <a:ea typeface="+mn-lt"/>
              <a:cs typeface="Arial"/>
            </a:endParaRPr>
          </a:p>
        </p:txBody>
      </p:sp>
      <p:sp>
        <p:nvSpPr>
          <p:cNvPr id="28" name="Rectangle 27">
            <a:hlinkClick r:id="" action="ppaction://noaction"/>
            <a:extLst>
              <a:ext uri="{FF2B5EF4-FFF2-40B4-BE49-F238E27FC236}">
                <a16:creationId xmlns:a16="http://schemas.microsoft.com/office/drawing/2014/main" id="{7BB419CA-D177-43B1-A036-82A675EE4A6D}"/>
              </a:ext>
            </a:extLst>
          </p:cNvPr>
          <p:cNvSpPr/>
          <p:nvPr/>
        </p:nvSpPr>
        <p:spPr>
          <a:xfrm>
            <a:off x="6140292" y="5055888"/>
            <a:ext cx="1190956" cy="470910"/>
          </a:xfrm>
          <a:prstGeom prst="rect">
            <a:avLst/>
          </a:prstGeom>
          <a:solidFill>
            <a:srgbClr val="FF5241">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12. Operational resilience </a:t>
            </a:r>
          </a:p>
        </p:txBody>
      </p:sp>
      <p:sp>
        <p:nvSpPr>
          <p:cNvPr id="25" name="Rectangle 24">
            <a:hlinkClick r:id="" action="ppaction://noaction"/>
            <a:extLst>
              <a:ext uri="{FF2B5EF4-FFF2-40B4-BE49-F238E27FC236}">
                <a16:creationId xmlns:a16="http://schemas.microsoft.com/office/drawing/2014/main" id="{4E9660D2-F8B5-4249-94C2-CE284277A0DF}"/>
              </a:ext>
            </a:extLst>
          </p:cNvPr>
          <p:cNvSpPr/>
          <p:nvPr/>
        </p:nvSpPr>
        <p:spPr>
          <a:xfrm>
            <a:off x="7386750" y="3431046"/>
            <a:ext cx="4397075" cy="668596"/>
          </a:xfrm>
          <a:prstGeom prst="rect">
            <a:avLst/>
          </a:prstGeom>
          <a:noFill/>
          <a:ln w="12700" cap="flat" cmpd="sng" algn="ctr">
            <a:solidFill>
              <a:srgbClr val="FF5A00">
                <a:lumMod val="20000"/>
                <a:lumOff val="8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have governance structures and internal risk management and control frameworks in place which align to Solvency II requirements, enable sound and prudent management of the business and support delivery of the business strategy​.</a:t>
            </a:r>
          </a:p>
        </p:txBody>
      </p:sp>
      <p:sp>
        <p:nvSpPr>
          <p:cNvPr id="26" name="Rectangle 25">
            <a:hlinkClick r:id="" action="ppaction://noaction"/>
            <a:extLst>
              <a:ext uri="{FF2B5EF4-FFF2-40B4-BE49-F238E27FC236}">
                <a16:creationId xmlns:a16="http://schemas.microsoft.com/office/drawing/2014/main" id="{E0738ACB-0ECA-4901-9CB3-EE8E54B33169}"/>
              </a:ext>
            </a:extLst>
          </p:cNvPr>
          <p:cNvSpPr/>
          <p:nvPr/>
        </p:nvSpPr>
        <p:spPr>
          <a:xfrm>
            <a:off x="6140291" y="3422754"/>
            <a:ext cx="1190957" cy="664939"/>
          </a:xfrm>
          <a:prstGeom prst="rect">
            <a:avLst/>
          </a:prstGeom>
          <a:solidFill>
            <a:srgbClr val="FF5241">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10. Governance, Risk Management and Reporting </a:t>
            </a:r>
          </a:p>
        </p:txBody>
      </p:sp>
      <p:sp>
        <p:nvSpPr>
          <p:cNvPr id="23" name="Rectangle 22">
            <a:hlinkClick r:id="" action="ppaction://noaction"/>
            <a:extLst>
              <a:ext uri="{FF2B5EF4-FFF2-40B4-BE49-F238E27FC236}">
                <a16:creationId xmlns:a16="http://schemas.microsoft.com/office/drawing/2014/main" id="{AB2946F8-04DA-424A-AE3B-0E59E598BBFC}"/>
              </a:ext>
            </a:extLst>
          </p:cNvPr>
          <p:cNvSpPr/>
          <p:nvPr/>
        </p:nvSpPr>
        <p:spPr>
          <a:xfrm>
            <a:off x="7386750" y="5593220"/>
            <a:ext cx="4397075" cy="369331"/>
          </a:xfrm>
          <a:prstGeom prst="rect">
            <a:avLst/>
          </a:prstGeom>
          <a:solidFill>
            <a:sysClr val="window" lastClr="FFFFFF"/>
          </a:solidFill>
          <a:ln w="12700" cap="flat" cmpd="sng" algn="ctr">
            <a:solidFill>
              <a:srgbClr val="FF5A00">
                <a:lumMod val="20000"/>
                <a:lumOff val="80000"/>
              </a:srgbClr>
            </a:solidFill>
            <a:prstDash val="solid"/>
            <a:miter lim="800000"/>
          </a:ln>
          <a:effectLst/>
        </p:spPr>
        <p:txBody>
          <a:bodyPr lIns="90000" tIns="0" rIns="90000" bIns="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0" i="0" u="none" strike="noStrike" kern="0" cap="none" spc="0" normalizeH="0" baseline="0" noProof="0">
                <a:ln>
                  <a:noFill/>
                </a:ln>
                <a:solidFill>
                  <a:prstClr val="black"/>
                </a:solidFill>
                <a:effectLst/>
                <a:uLnTx/>
                <a:uFillTx/>
                <a:ea typeface="+mn-lt"/>
                <a:cs typeface="Arial"/>
              </a:rPr>
              <a:t>Managing agents should be diverse, creating an inclusive and high-performance culture.</a:t>
            </a:r>
            <a:br>
              <a:rPr kumimoji="0" lang="en-GB" sz="1000" b="0" i="0" u="none" strike="noStrike" kern="0" cap="none" spc="0" normalizeH="0" baseline="0" noProof="0">
                <a:ln>
                  <a:noFill/>
                </a:ln>
                <a:solidFill>
                  <a:prstClr val="black"/>
                </a:solidFill>
                <a:effectLst/>
                <a:uLnTx/>
                <a:uFillTx/>
                <a:ea typeface="+mn-lt"/>
                <a:cs typeface="Arial"/>
              </a:rPr>
            </a:br>
            <a:r>
              <a:rPr kumimoji="0" lang="en-GB" sz="400" b="0" i="0" u="none" strike="noStrike" kern="0" cap="none" spc="0" normalizeH="0" baseline="0" noProof="0">
                <a:ln>
                  <a:noFill/>
                </a:ln>
                <a:solidFill>
                  <a:prstClr val="white"/>
                </a:solidFill>
                <a:effectLst/>
                <a:uLnTx/>
                <a:uFillTx/>
                <a:ea typeface="+mn-lt"/>
                <a:cs typeface="Arial"/>
              </a:rPr>
              <a:t>h</a:t>
            </a:r>
            <a:endParaRPr kumimoji="0" lang="en-GB" sz="1000" b="0" i="0" u="none" strike="noStrike" kern="0" cap="none" spc="0" normalizeH="0" baseline="0" noProof="0">
              <a:ln>
                <a:noFill/>
              </a:ln>
              <a:solidFill>
                <a:prstClr val="white"/>
              </a:solidFill>
              <a:effectLst/>
              <a:uLnTx/>
              <a:uFillTx/>
              <a:ea typeface="+mn-lt"/>
              <a:cs typeface="Arial"/>
            </a:endParaRPr>
          </a:p>
        </p:txBody>
      </p:sp>
      <p:sp>
        <p:nvSpPr>
          <p:cNvPr id="24" name="Rectangle 23">
            <a:hlinkClick r:id="" action="ppaction://noaction"/>
            <a:extLst>
              <a:ext uri="{FF2B5EF4-FFF2-40B4-BE49-F238E27FC236}">
                <a16:creationId xmlns:a16="http://schemas.microsoft.com/office/drawing/2014/main" id="{CD7A31A8-891F-4EE2-8B48-0DF4CFB66F29}"/>
              </a:ext>
            </a:extLst>
          </p:cNvPr>
          <p:cNvSpPr/>
          <p:nvPr/>
        </p:nvSpPr>
        <p:spPr>
          <a:xfrm>
            <a:off x="6140295" y="5593220"/>
            <a:ext cx="1190956" cy="394724"/>
          </a:xfrm>
          <a:prstGeom prst="rect">
            <a:avLst/>
          </a:prstGeom>
          <a:solidFill>
            <a:srgbClr val="FF5241">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13. Culture </a:t>
            </a:r>
          </a:p>
        </p:txBody>
      </p:sp>
      <p:sp>
        <p:nvSpPr>
          <p:cNvPr id="43" name="TextBox 42">
            <a:extLst>
              <a:ext uri="{FF2B5EF4-FFF2-40B4-BE49-F238E27FC236}">
                <a16:creationId xmlns:a16="http://schemas.microsoft.com/office/drawing/2014/main" id="{0C86F55A-9FDC-405A-B85A-CFCC92C76D84}"/>
              </a:ext>
            </a:extLst>
          </p:cNvPr>
          <p:cNvSpPr txBox="1"/>
          <p:nvPr/>
        </p:nvSpPr>
        <p:spPr>
          <a:xfrm>
            <a:off x="1872329" y="1632449"/>
            <a:ext cx="3818864" cy="756188"/>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kern="0" cap="none" spc="0" normalizeH="0" baseline="0">
                <a:ln>
                  <a:noFill/>
                </a:ln>
                <a:solidFill>
                  <a:prstClr val="black"/>
                </a:solidFill>
                <a:effectLst/>
                <a:uLnTx/>
                <a:uFillTx/>
                <a:ea typeface="+mn-lt"/>
                <a:cs typeface="Arial"/>
              </a:defRPr>
            </a:lvl1pPr>
          </a:lstStyle>
          <a:p>
            <a:r>
              <a:rPr lang="en-GB"/>
              <a:t>Managing agents should produce and execute syndicate business plans which are logical, realistic and achievable, and ensure the delivery of a sustainable profit including expense management.​</a:t>
            </a:r>
          </a:p>
        </p:txBody>
      </p:sp>
      <p:sp>
        <p:nvSpPr>
          <p:cNvPr id="44" name="TextBox 43">
            <a:extLst>
              <a:ext uri="{FF2B5EF4-FFF2-40B4-BE49-F238E27FC236}">
                <a16:creationId xmlns:a16="http://schemas.microsoft.com/office/drawing/2014/main" id="{2EFDDBBF-636A-4EB2-8B18-11F2F8FCD1FD}"/>
              </a:ext>
            </a:extLst>
          </p:cNvPr>
          <p:cNvSpPr txBox="1"/>
          <p:nvPr/>
        </p:nvSpPr>
        <p:spPr>
          <a:xfrm>
            <a:off x="1872329" y="2472850"/>
            <a:ext cx="3818864" cy="593737"/>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kern="0" cap="none" spc="0" normalizeH="0" baseline="0">
                <a:ln>
                  <a:noFill/>
                </a:ln>
                <a:solidFill>
                  <a:prstClr val="black"/>
                </a:solidFill>
                <a:effectLst/>
                <a:uLnTx/>
                <a:uFillTx/>
                <a:ea typeface="+mn-lt"/>
                <a:cs typeface="Arial"/>
              </a:defRPr>
            </a:lvl1pPr>
          </a:lstStyle>
          <a:p>
            <a:r>
              <a:rPr lang="en-GB"/>
              <a:t>Managing agents should ensure syndicates maintain appropriate control of catastrophe risk (from natural and non-natural perils) in line with their wider business strategy.</a:t>
            </a:r>
          </a:p>
        </p:txBody>
      </p:sp>
      <p:sp>
        <p:nvSpPr>
          <p:cNvPr id="45" name="TextBox 44">
            <a:extLst>
              <a:ext uri="{FF2B5EF4-FFF2-40B4-BE49-F238E27FC236}">
                <a16:creationId xmlns:a16="http://schemas.microsoft.com/office/drawing/2014/main" id="{AF50669A-11E8-43D7-82BA-2A20FBAC0C87}"/>
              </a:ext>
            </a:extLst>
          </p:cNvPr>
          <p:cNvSpPr txBox="1"/>
          <p:nvPr/>
        </p:nvSpPr>
        <p:spPr>
          <a:xfrm>
            <a:off x="1872329" y="3128866"/>
            <a:ext cx="3818864" cy="591323"/>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kern="0" cap="none" spc="0" normalizeH="0" baseline="0">
                <a:ln>
                  <a:noFill/>
                </a:ln>
                <a:solidFill>
                  <a:prstClr val="black"/>
                </a:solidFill>
                <a:effectLst/>
                <a:uLnTx/>
                <a:uFillTx/>
                <a:ea typeface="+mn-lt"/>
                <a:cs typeface="Arial"/>
              </a:defRPr>
            </a:lvl1pPr>
          </a:lstStyle>
          <a:p>
            <a:r>
              <a:rPr lang="en-GB"/>
              <a:t>Managing agents should define and execute syndicate outwards reinsurance strategy and purchasing plans which effectively support the wider syndicate business strategy and objectives. </a:t>
            </a:r>
          </a:p>
        </p:txBody>
      </p:sp>
    </p:spTree>
    <p:extLst>
      <p:ext uri="{BB962C8B-B14F-4D97-AF65-F5344CB8AC3E}">
        <p14:creationId xmlns:p14="http://schemas.microsoft.com/office/powerpoint/2010/main" val="16994838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99DFB9E-D202-45D1-86FF-28B3DAA96CB2}"/>
              </a:ext>
            </a:extLst>
          </p:cNvPr>
          <p:cNvSpPr>
            <a:spLocks noGrp="1"/>
          </p:cNvSpPr>
          <p:nvPr>
            <p:ph type="title"/>
          </p:nvPr>
        </p:nvSpPr>
        <p:spPr/>
        <p:txBody>
          <a:bodyPr/>
          <a:lstStyle/>
          <a:p>
            <a:r>
              <a:rPr lang="en-GB"/>
              <a:t>Oversight Framework</a:t>
            </a:r>
          </a:p>
        </p:txBody>
      </p:sp>
      <p:sp>
        <p:nvSpPr>
          <p:cNvPr id="5" name="Text Placeholder 4">
            <a:extLst>
              <a:ext uri="{FF2B5EF4-FFF2-40B4-BE49-F238E27FC236}">
                <a16:creationId xmlns:a16="http://schemas.microsoft.com/office/drawing/2014/main" id="{0B6ECFA7-E750-4B89-B334-10F8A7964541}"/>
              </a:ext>
            </a:extLst>
          </p:cNvPr>
          <p:cNvSpPr>
            <a:spLocks noGrp="1"/>
          </p:cNvSpPr>
          <p:nvPr>
            <p:ph type="body" sz="quarter" idx="17"/>
          </p:nvPr>
        </p:nvSpPr>
        <p:spPr>
          <a:xfrm>
            <a:off x="533400" y="1100138"/>
            <a:ext cx="11160125" cy="307777"/>
          </a:xfrm>
        </p:spPr>
        <p:txBody>
          <a:bodyPr/>
          <a:lstStyle/>
          <a:p>
            <a:r>
              <a:rPr lang="en-GB">
                <a:solidFill>
                  <a:schemeClr val="accent3"/>
                </a:solidFill>
              </a:rPr>
              <a:t>Principles and Sub-Principles</a:t>
            </a:r>
            <a:endParaRPr lang="en-GB"/>
          </a:p>
        </p:txBody>
      </p:sp>
      <p:sp>
        <p:nvSpPr>
          <p:cNvPr id="8" name="Rectangle 7">
            <a:hlinkClick r:id="" action="ppaction://noaction"/>
            <a:extLst>
              <a:ext uri="{FF2B5EF4-FFF2-40B4-BE49-F238E27FC236}">
                <a16:creationId xmlns:a16="http://schemas.microsoft.com/office/drawing/2014/main" id="{232CD1F7-8411-41A5-BDF9-7E60BC6D77D9}"/>
              </a:ext>
            </a:extLst>
          </p:cNvPr>
          <p:cNvSpPr/>
          <p:nvPr/>
        </p:nvSpPr>
        <p:spPr>
          <a:xfrm>
            <a:off x="585516" y="2672380"/>
            <a:ext cx="1130751" cy="597403"/>
          </a:xfrm>
          <a:prstGeom prst="rect">
            <a:avLst/>
          </a:prstGeom>
          <a:solidFill>
            <a:srgbClr val="282F54">
              <a:lumMod val="40000"/>
              <a:lumOff val="60000"/>
            </a:srgbClr>
          </a:solidFill>
          <a:ln w="12700" cap="flat" cmpd="sng" algn="ctr">
            <a:noFill/>
            <a:prstDash val="solid"/>
            <a:miter lim="800000"/>
          </a:ln>
          <a:effectLst/>
        </p:spPr>
        <p:txBody>
          <a:bodyPr wrap="square" lIns="90000" tIns="46800" rIns="90000" bIns="4680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000" b="1" i="0" u="none" strike="noStrike" kern="0" cap="none" spc="0" normalizeH="0" baseline="0" noProof="0">
                <a:ln>
                  <a:noFill/>
                </a:ln>
                <a:solidFill>
                  <a:prstClr val="black"/>
                </a:solidFill>
                <a:effectLst/>
                <a:uLnTx/>
                <a:uFillTx/>
                <a:ea typeface="+mn-lt"/>
                <a:cs typeface="Arial"/>
              </a:rPr>
              <a:t>2. Catastrophe Exposure</a:t>
            </a:r>
          </a:p>
        </p:txBody>
      </p:sp>
      <p:sp>
        <p:nvSpPr>
          <p:cNvPr id="44" name="TextBox 43">
            <a:extLst>
              <a:ext uri="{FF2B5EF4-FFF2-40B4-BE49-F238E27FC236}">
                <a16:creationId xmlns:a16="http://schemas.microsoft.com/office/drawing/2014/main" id="{2EFDDBBF-636A-4EB2-8B18-11F2F8FCD1FD}"/>
              </a:ext>
            </a:extLst>
          </p:cNvPr>
          <p:cNvSpPr txBox="1"/>
          <p:nvPr/>
        </p:nvSpPr>
        <p:spPr>
          <a:xfrm>
            <a:off x="1741703" y="2676046"/>
            <a:ext cx="3818864" cy="593737"/>
          </a:xfrm>
          <a:prstGeom prst="rect">
            <a:avLst/>
          </a:prstGeom>
          <a:solidFill>
            <a:sysClr val="window" lastClr="FFFFFF"/>
          </a:solidFill>
          <a:ln w="12700" cap="flat" cmpd="sng" algn="ctr">
            <a:solidFill>
              <a:srgbClr val="1E35BF">
                <a:lumMod val="20000"/>
                <a:lumOff val="80000"/>
              </a:srgbClr>
            </a:solidFill>
            <a:prstDash val="solid"/>
            <a:miter lim="800000"/>
          </a:ln>
          <a:effectLst/>
        </p:spPr>
        <p:txBody>
          <a:bodyPr wrap="square" lIns="90000" tIns="0" rIns="90000" bIns="0" rtlCol="0" anchor="t">
            <a:noAutofit/>
          </a:bodyPr>
          <a:lstStyle>
            <a:defPPr>
              <a:defRPr lang="en-US"/>
            </a:defPPr>
            <a:lvl1pPr marR="0" lvl="0" indent="0" fontAlgn="auto">
              <a:lnSpc>
                <a:spcPct val="100000"/>
              </a:lnSpc>
              <a:spcBef>
                <a:spcPts val="0"/>
              </a:spcBef>
              <a:spcAft>
                <a:spcPts val="600"/>
              </a:spcAft>
              <a:buClrTx/>
              <a:buSzTx/>
              <a:buFontTx/>
              <a:buNone/>
              <a:tabLst/>
              <a:defRPr kumimoji="0" sz="1000" b="0" i="0" u="none" strike="noStrike" kern="0" cap="none" spc="0" normalizeH="0" baseline="0">
                <a:ln>
                  <a:noFill/>
                </a:ln>
                <a:solidFill>
                  <a:prstClr val="black"/>
                </a:solidFill>
                <a:effectLst/>
                <a:uLnTx/>
                <a:uFillTx/>
                <a:ea typeface="+mn-lt"/>
                <a:cs typeface="Arial"/>
              </a:defRPr>
            </a:lvl1pPr>
          </a:lstStyle>
          <a:p>
            <a:r>
              <a:rPr lang="en-GB"/>
              <a:t>Managing agents should ensure syndicates maintain appropriate control of catastrophe risk (from natural and non-natural perils) in line with their wider business strategy.</a:t>
            </a:r>
          </a:p>
        </p:txBody>
      </p:sp>
      <p:sp>
        <p:nvSpPr>
          <p:cNvPr id="46" name="Rectangle 45">
            <a:extLst>
              <a:ext uri="{FF2B5EF4-FFF2-40B4-BE49-F238E27FC236}">
                <a16:creationId xmlns:a16="http://schemas.microsoft.com/office/drawing/2014/main" id="{1552CEB6-52FC-4104-8616-3304C8434D3D}"/>
              </a:ext>
            </a:extLst>
          </p:cNvPr>
          <p:cNvSpPr/>
          <p:nvPr/>
        </p:nvSpPr>
        <p:spPr>
          <a:xfrm>
            <a:off x="6076228" y="2671511"/>
            <a:ext cx="5901245" cy="263791"/>
          </a:xfrm>
          <a:prstGeom prst="rect">
            <a:avLst/>
          </a:prstGeom>
          <a:solidFill>
            <a:sysClr val="window" lastClr="FFFFFF"/>
          </a:solidFill>
          <a:ln w="12700" cap="flat" cmpd="sng" algn="ctr">
            <a:noFill/>
            <a:prstDash val="solid"/>
            <a:miter lim="800000"/>
          </a:ln>
          <a:effectLst/>
        </p:spPr>
        <p:txBody>
          <a:bodyPr wrap="square" lIns="90000" tIns="46800" rIns="0" bIns="46800" rtlCol="0" anchor="t">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latin typeface="Arial"/>
                <a:ea typeface="+mn-lt"/>
                <a:cs typeface="Arial"/>
              </a:rPr>
              <a:t>To support this, managing agents should ensure their syndicates:​</a:t>
            </a:r>
            <a:endParaRPr kumimoji="0" lang="en-GB" sz="1100" b="0" i="0" u="none" strike="noStrike" kern="0" cap="none" spc="0" normalizeH="0" baseline="0" noProof="0">
              <a:ln>
                <a:noFill/>
              </a:ln>
              <a:solidFill>
                <a:prstClr val="black"/>
              </a:solidFill>
              <a:effectLst/>
              <a:uLnTx/>
              <a:uFillTx/>
              <a:latin typeface="Arial"/>
              <a:ea typeface="+mn-ea"/>
              <a:cs typeface="+mn-cs"/>
            </a:endParaRPr>
          </a:p>
        </p:txBody>
      </p:sp>
      <p:grpSp>
        <p:nvGrpSpPr>
          <p:cNvPr id="48" name="Group 47">
            <a:extLst>
              <a:ext uri="{FF2B5EF4-FFF2-40B4-BE49-F238E27FC236}">
                <a16:creationId xmlns:a16="http://schemas.microsoft.com/office/drawing/2014/main" id="{C851B8CD-30B7-437B-A9DD-30E20BA1F21C}"/>
              </a:ext>
            </a:extLst>
          </p:cNvPr>
          <p:cNvGrpSpPr/>
          <p:nvPr/>
        </p:nvGrpSpPr>
        <p:grpSpPr>
          <a:xfrm>
            <a:off x="6057186" y="3059235"/>
            <a:ext cx="5919148" cy="534987"/>
            <a:chOff x="300038" y="6323012"/>
            <a:chExt cx="6296017" cy="534987"/>
          </a:xfrm>
        </p:grpSpPr>
        <p:sp>
          <p:nvSpPr>
            <p:cNvPr id="49" name="Rectangle 48">
              <a:extLst>
                <a:ext uri="{FF2B5EF4-FFF2-40B4-BE49-F238E27FC236}">
                  <a16:creationId xmlns:a16="http://schemas.microsoft.com/office/drawing/2014/main" id="{066FE071-4A9E-4E88-8D4E-97E6D45A242F}"/>
                </a:ext>
              </a:extLst>
            </p:cNvPr>
            <p:cNvSpPr/>
            <p:nvPr/>
          </p:nvSpPr>
          <p:spPr>
            <a:xfrm>
              <a:off x="300038" y="6323012"/>
              <a:ext cx="6296017" cy="5349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0" name="Oval 49">
              <a:extLst>
                <a:ext uri="{FF2B5EF4-FFF2-40B4-BE49-F238E27FC236}">
                  <a16:creationId xmlns:a16="http://schemas.microsoft.com/office/drawing/2014/main" id="{22F31881-D651-4D4B-8ACA-E42059BF3A20}"/>
                </a:ext>
              </a:extLst>
            </p:cNvPr>
            <p:cNvSpPr/>
            <p:nvPr/>
          </p:nvSpPr>
          <p:spPr>
            <a:xfrm>
              <a:off x="397402" y="6413286"/>
              <a:ext cx="354438" cy="354438"/>
            </a:xfrm>
            <a:prstGeom prst="ellipse">
              <a:avLst/>
            </a:prstGeom>
            <a:solidFill>
              <a:srgbClr val="282F54"/>
            </a:soli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a:ea typeface="+mn-ea"/>
                  <a:cs typeface="+mn-cs"/>
                </a:rPr>
                <a:t>1</a:t>
              </a:r>
            </a:p>
          </p:txBody>
        </p:sp>
        <p:sp>
          <p:nvSpPr>
            <p:cNvPr id="51" name="TextBox 50">
              <a:hlinkClick r:id="" action="ppaction://noaction"/>
              <a:extLst>
                <a:ext uri="{FF2B5EF4-FFF2-40B4-BE49-F238E27FC236}">
                  <a16:creationId xmlns:a16="http://schemas.microsoft.com/office/drawing/2014/main" id="{4B7BA7A3-DA6A-43CD-A878-1A7F2876BF8F}"/>
                </a:ext>
              </a:extLst>
            </p:cNvPr>
            <p:cNvSpPr txBox="1"/>
            <p:nvPr/>
          </p:nvSpPr>
          <p:spPr>
            <a:xfrm>
              <a:off x="830579" y="6357470"/>
              <a:ext cx="5765475" cy="446148"/>
            </a:xfrm>
            <a:prstGeom prst="rect">
              <a:avLst/>
            </a:prstGeom>
            <a:noFill/>
          </p:spPr>
          <p:txBody>
            <a:bodyPr wrap="square" anchor="ctr">
              <a:noAutofit/>
            </a:bodyPr>
            <a:lstStyle/>
            <a:p>
              <a:pPr marL="0" marR="0" lvl="0" indent="0" defTabSz="914400" eaLnBrk="1" fontAlgn="base"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rPr>
                <a:t>Manage catastrophe exposure in line with their agreed risk appetites </a:t>
              </a:r>
            </a:p>
          </p:txBody>
        </p:sp>
      </p:grpSp>
      <p:grpSp>
        <p:nvGrpSpPr>
          <p:cNvPr id="52" name="Group 51">
            <a:extLst>
              <a:ext uri="{FF2B5EF4-FFF2-40B4-BE49-F238E27FC236}">
                <a16:creationId xmlns:a16="http://schemas.microsoft.com/office/drawing/2014/main" id="{941A110E-C68C-4969-AD89-CC0C722F5661}"/>
              </a:ext>
            </a:extLst>
          </p:cNvPr>
          <p:cNvGrpSpPr/>
          <p:nvPr/>
        </p:nvGrpSpPr>
        <p:grpSpPr>
          <a:xfrm>
            <a:off x="6057186" y="3668835"/>
            <a:ext cx="5919148" cy="534987"/>
            <a:chOff x="300038" y="6932612"/>
            <a:chExt cx="6296017" cy="534987"/>
          </a:xfrm>
        </p:grpSpPr>
        <p:sp>
          <p:nvSpPr>
            <p:cNvPr id="53" name="Rectangle 52">
              <a:extLst>
                <a:ext uri="{FF2B5EF4-FFF2-40B4-BE49-F238E27FC236}">
                  <a16:creationId xmlns:a16="http://schemas.microsoft.com/office/drawing/2014/main" id="{D990AF8E-7B4F-4B3B-A5A8-91C41BC3DAD5}"/>
                </a:ext>
              </a:extLst>
            </p:cNvPr>
            <p:cNvSpPr/>
            <p:nvPr/>
          </p:nvSpPr>
          <p:spPr>
            <a:xfrm>
              <a:off x="300038" y="6932612"/>
              <a:ext cx="6296017" cy="5349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4" name="Oval 53">
              <a:extLst>
                <a:ext uri="{FF2B5EF4-FFF2-40B4-BE49-F238E27FC236}">
                  <a16:creationId xmlns:a16="http://schemas.microsoft.com/office/drawing/2014/main" id="{6FC5E0B7-1CE3-4BDA-9045-E16ACA298502}"/>
                </a:ext>
              </a:extLst>
            </p:cNvPr>
            <p:cNvSpPr/>
            <p:nvPr/>
          </p:nvSpPr>
          <p:spPr>
            <a:xfrm>
              <a:off x="397402" y="7022885"/>
              <a:ext cx="354438" cy="354438"/>
            </a:xfrm>
            <a:prstGeom prst="ellipse">
              <a:avLst/>
            </a:prstGeom>
            <a:solidFill>
              <a:srgbClr val="282F54"/>
            </a:soli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a:ea typeface="+mn-ea"/>
                  <a:cs typeface="+mn-cs"/>
                </a:rPr>
                <a:t>2</a:t>
              </a:r>
            </a:p>
          </p:txBody>
        </p:sp>
        <p:sp>
          <p:nvSpPr>
            <p:cNvPr id="55" name="TextBox 54">
              <a:hlinkClick r:id="" action="ppaction://noaction"/>
              <a:extLst>
                <a:ext uri="{FF2B5EF4-FFF2-40B4-BE49-F238E27FC236}">
                  <a16:creationId xmlns:a16="http://schemas.microsoft.com/office/drawing/2014/main" id="{79895A29-BEA0-40A3-80CC-42165B7C3321}"/>
                </a:ext>
              </a:extLst>
            </p:cNvPr>
            <p:cNvSpPr txBox="1"/>
            <p:nvPr/>
          </p:nvSpPr>
          <p:spPr>
            <a:xfrm>
              <a:off x="830579" y="6984662"/>
              <a:ext cx="5765475" cy="430887"/>
            </a:xfrm>
            <a:prstGeom prst="rect">
              <a:avLst/>
            </a:prstGeom>
            <a:noFill/>
          </p:spPr>
          <p:txBody>
            <a:bodyPr wrap="square">
              <a:spAutoFit/>
            </a:bodyPr>
            <a:lstStyle/>
            <a:p>
              <a:pPr marL="0" marR="0" lvl="0" indent="0" defTabSz="914400" eaLnBrk="1" fontAlgn="base"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rPr>
                <a:t>Employ data standards, risk quantification tools, controls, expertise, and reporting frameworks which are appropriate to their risk profile</a:t>
              </a:r>
            </a:p>
          </p:txBody>
        </p:sp>
      </p:grpSp>
      <p:grpSp>
        <p:nvGrpSpPr>
          <p:cNvPr id="56" name="Group 55">
            <a:extLst>
              <a:ext uri="{FF2B5EF4-FFF2-40B4-BE49-F238E27FC236}">
                <a16:creationId xmlns:a16="http://schemas.microsoft.com/office/drawing/2014/main" id="{1C53EF9F-9AB4-42C6-9A9E-09F4542F272C}"/>
              </a:ext>
            </a:extLst>
          </p:cNvPr>
          <p:cNvGrpSpPr/>
          <p:nvPr/>
        </p:nvGrpSpPr>
        <p:grpSpPr>
          <a:xfrm>
            <a:off x="6057186" y="4278435"/>
            <a:ext cx="5919148" cy="534987"/>
            <a:chOff x="300038" y="7542212"/>
            <a:chExt cx="6296017" cy="534987"/>
          </a:xfrm>
        </p:grpSpPr>
        <p:sp>
          <p:nvSpPr>
            <p:cNvPr id="57" name="Rectangle 56">
              <a:extLst>
                <a:ext uri="{FF2B5EF4-FFF2-40B4-BE49-F238E27FC236}">
                  <a16:creationId xmlns:a16="http://schemas.microsoft.com/office/drawing/2014/main" id="{6B5616DA-19B6-44DF-89FE-C72334EB6282}"/>
                </a:ext>
              </a:extLst>
            </p:cNvPr>
            <p:cNvSpPr/>
            <p:nvPr/>
          </p:nvSpPr>
          <p:spPr>
            <a:xfrm>
              <a:off x="300038" y="7542212"/>
              <a:ext cx="6296017" cy="5349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58" name="Oval 57">
              <a:extLst>
                <a:ext uri="{FF2B5EF4-FFF2-40B4-BE49-F238E27FC236}">
                  <a16:creationId xmlns:a16="http://schemas.microsoft.com/office/drawing/2014/main" id="{81B50942-99A0-4DC7-BE13-2A121AD5C15F}"/>
                </a:ext>
              </a:extLst>
            </p:cNvPr>
            <p:cNvSpPr/>
            <p:nvPr/>
          </p:nvSpPr>
          <p:spPr>
            <a:xfrm>
              <a:off x="397402" y="7632485"/>
              <a:ext cx="354438" cy="354438"/>
            </a:xfrm>
            <a:prstGeom prst="ellipse">
              <a:avLst/>
            </a:prstGeom>
            <a:solidFill>
              <a:srgbClr val="282F54"/>
            </a:soli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a:ea typeface="+mn-ea"/>
                  <a:cs typeface="+mn-cs"/>
                </a:rPr>
                <a:t>3</a:t>
              </a:r>
            </a:p>
          </p:txBody>
        </p:sp>
        <p:sp>
          <p:nvSpPr>
            <p:cNvPr id="59" name="TextBox 58">
              <a:hlinkClick r:id="" action="ppaction://noaction"/>
              <a:extLst>
                <a:ext uri="{FF2B5EF4-FFF2-40B4-BE49-F238E27FC236}">
                  <a16:creationId xmlns:a16="http://schemas.microsoft.com/office/drawing/2014/main" id="{3368CB36-A4BC-4EEA-9CCE-974BA9D5186F}"/>
                </a:ext>
              </a:extLst>
            </p:cNvPr>
            <p:cNvSpPr txBox="1"/>
            <p:nvPr/>
          </p:nvSpPr>
          <p:spPr>
            <a:xfrm>
              <a:off x="830579" y="7578872"/>
              <a:ext cx="5765475" cy="430887"/>
            </a:xfrm>
            <a:prstGeom prst="rect">
              <a:avLst/>
            </a:prstGeom>
            <a:noFill/>
          </p:spPr>
          <p:txBody>
            <a:bodyPr wrap="square">
              <a:spAutoFit/>
            </a:bodyPr>
            <a:lstStyle/>
            <a:p>
              <a:pPr marL="0" marR="0" lvl="0" indent="0" defTabSz="914400" eaLnBrk="1" fontAlgn="base"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rPr>
                <a:t>Adequately justify and validate methodology and assumptions, including expert judgements </a:t>
              </a:r>
            </a:p>
          </p:txBody>
        </p:sp>
      </p:grpSp>
      <p:grpSp>
        <p:nvGrpSpPr>
          <p:cNvPr id="60" name="Group 59">
            <a:extLst>
              <a:ext uri="{FF2B5EF4-FFF2-40B4-BE49-F238E27FC236}">
                <a16:creationId xmlns:a16="http://schemas.microsoft.com/office/drawing/2014/main" id="{A9306235-B685-4C35-8C10-E005ADB177C2}"/>
              </a:ext>
            </a:extLst>
          </p:cNvPr>
          <p:cNvGrpSpPr/>
          <p:nvPr/>
        </p:nvGrpSpPr>
        <p:grpSpPr>
          <a:xfrm>
            <a:off x="6057186" y="4888035"/>
            <a:ext cx="5919148" cy="534987"/>
            <a:chOff x="300038" y="8151812"/>
            <a:chExt cx="6296017" cy="534987"/>
          </a:xfrm>
        </p:grpSpPr>
        <p:sp>
          <p:nvSpPr>
            <p:cNvPr id="61" name="Rectangle 60">
              <a:extLst>
                <a:ext uri="{FF2B5EF4-FFF2-40B4-BE49-F238E27FC236}">
                  <a16:creationId xmlns:a16="http://schemas.microsoft.com/office/drawing/2014/main" id="{2CC55A9F-C96F-4F01-A98A-392B06302F5A}"/>
                </a:ext>
              </a:extLst>
            </p:cNvPr>
            <p:cNvSpPr/>
            <p:nvPr/>
          </p:nvSpPr>
          <p:spPr>
            <a:xfrm>
              <a:off x="300038" y="8151812"/>
              <a:ext cx="6296017" cy="5349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2" name="Oval 61">
              <a:extLst>
                <a:ext uri="{FF2B5EF4-FFF2-40B4-BE49-F238E27FC236}">
                  <a16:creationId xmlns:a16="http://schemas.microsoft.com/office/drawing/2014/main" id="{ECCB0F47-C6AD-4B2D-ACC5-B946F11E82AB}"/>
                </a:ext>
              </a:extLst>
            </p:cNvPr>
            <p:cNvSpPr/>
            <p:nvPr/>
          </p:nvSpPr>
          <p:spPr>
            <a:xfrm>
              <a:off x="397402" y="8242085"/>
              <a:ext cx="354438" cy="354438"/>
            </a:xfrm>
            <a:prstGeom prst="ellipse">
              <a:avLst/>
            </a:prstGeom>
            <a:solidFill>
              <a:srgbClr val="282F54"/>
            </a:soli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a:ea typeface="+mn-ea"/>
                  <a:cs typeface="+mn-cs"/>
                </a:rPr>
                <a:t>4</a:t>
              </a:r>
            </a:p>
          </p:txBody>
        </p:sp>
        <p:sp>
          <p:nvSpPr>
            <p:cNvPr id="63" name="TextBox 62">
              <a:hlinkClick r:id="" action="ppaction://noaction"/>
              <a:extLst>
                <a:ext uri="{FF2B5EF4-FFF2-40B4-BE49-F238E27FC236}">
                  <a16:creationId xmlns:a16="http://schemas.microsoft.com/office/drawing/2014/main" id="{3349A26B-0045-418F-84D2-A19327C1D39E}"/>
                </a:ext>
              </a:extLst>
            </p:cNvPr>
            <p:cNvSpPr txBox="1"/>
            <p:nvPr/>
          </p:nvSpPr>
          <p:spPr>
            <a:xfrm>
              <a:off x="830579" y="8203862"/>
              <a:ext cx="5765475" cy="430887"/>
            </a:xfrm>
            <a:prstGeom prst="rect">
              <a:avLst/>
            </a:prstGeom>
            <a:noFill/>
          </p:spPr>
          <p:txBody>
            <a:bodyPr wrap="square" lIns="91440" tIns="45720" rIns="91440" bIns="45720" anchor="t">
              <a:spAutoFit/>
            </a:bodyPr>
            <a:lstStyle/>
            <a:p>
              <a:pPr marL="0" marR="0" lvl="0" indent="0" defTabSz="914400" eaLnBrk="1" fontAlgn="base"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rPr>
                <a:t>Have a complete representation of catastrophe risk in the internal model, reflecting all possible sources of loss and allowing effective use by wider business functions</a:t>
              </a:r>
            </a:p>
          </p:txBody>
        </p:sp>
      </p:grpSp>
      <p:grpSp>
        <p:nvGrpSpPr>
          <p:cNvPr id="64" name="Group 63">
            <a:extLst>
              <a:ext uri="{FF2B5EF4-FFF2-40B4-BE49-F238E27FC236}">
                <a16:creationId xmlns:a16="http://schemas.microsoft.com/office/drawing/2014/main" id="{E7B7E0CB-4E35-4D46-8326-C1DFE4EA7BB4}"/>
              </a:ext>
            </a:extLst>
          </p:cNvPr>
          <p:cNvGrpSpPr/>
          <p:nvPr/>
        </p:nvGrpSpPr>
        <p:grpSpPr>
          <a:xfrm>
            <a:off x="6057186" y="5497635"/>
            <a:ext cx="5919148" cy="534987"/>
            <a:chOff x="300038" y="8761412"/>
            <a:chExt cx="6296017" cy="534987"/>
          </a:xfrm>
        </p:grpSpPr>
        <p:sp>
          <p:nvSpPr>
            <p:cNvPr id="65" name="Rectangle 64">
              <a:extLst>
                <a:ext uri="{FF2B5EF4-FFF2-40B4-BE49-F238E27FC236}">
                  <a16:creationId xmlns:a16="http://schemas.microsoft.com/office/drawing/2014/main" id="{227B401C-72F1-4B9B-91FA-17E4165EBD3F}"/>
                </a:ext>
              </a:extLst>
            </p:cNvPr>
            <p:cNvSpPr/>
            <p:nvPr/>
          </p:nvSpPr>
          <p:spPr>
            <a:xfrm>
              <a:off x="300038" y="8761412"/>
              <a:ext cx="6296017" cy="534987"/>
            </a:xfrm>
            <a:prstGeom prst="rect">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a:ea typeface="+mn-ea"/>
                <a:cs typeface="+mn-cs"/>
              </a:endParaRPr>
            </a:p>
          </p:txBody>
        </p:sp>
        <p:sp>
          <p:nvSpPr>
            <p:cNvPr id="66" name="Oval 65">
              <a:extLst>
                <a:ext uri="{FF2B5EF4-FFF2-40B4-BE49-F238E27FC236}">
                  <a16:creationId xmlns:a16="http://schemas.microsoft.com/office/drawing/2014/main" id="{90D6E4E7-AEBF-4869-8039-3907B2E9EDE4}"/>
                </a:ext>
              </a:extLst>
            </p:cNvPr>
            <p:cNvSpPr/>
            <p:nvPr/>
          </p:nvSpPr>
          <p:spPr>
            <a:xfrm>
              <a:off x="397402" y="8851686"/>
              <a:ext cx="354438" cy="354438"/>
            </a:xfrm>
            <a:prstGeom prst="ellipse">
              <a:avLst/>
            </a:prstGeom>
            <a:solidFill>
              <a:srgbClr val="282F54"/>
            </a:solidFill>
            <a:ln w="12700" cap="flat" cmpd="sng" algn="ctr">
              <a:noFill/>
              <a:prstDash val="solid"/>
              <a:miter lim="800000"/>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prstClr val="white"/>
                  </a:solidFill>
                  <a:effectLst/>
                  <a:uLnTx/>
                  <a:uFillTx/>
                  <a:latin typeface="Arial"/>
                  <a:ea typeface="+mn-ea"/>
                  <a:cs typeface="+mn-cs"/>
                </a:rPr>
                <a:t>5</a:t>
              </a:r>
            </a:p>
          </p:txBody>
        </p:sp>
        <p:sp>
          <p:nvSpPr>
            <p:cNvPr id="67" name="TextBox 66">
              <a:hlinkClick r:id="" action="ppaction://noaction"/>
              <a:extLst>
                <a:ext uri="{FF2B5EF4-FFF2-40B4-BE49-F238E27FC236}">
                  <a16:creationId xmlns:a16="http://schemas.microsoft.com/office/drawing/2014/main" id="{3405206A-3F86-40E0-861A-50BF402692F1}"/>
                </a:ext>
              </a:extLst>
            </p:cNvPr>
            <p:cNvSpPr txBox="1"/>
            <p:nvPr/>
          </p:nvSpPr>
          <p:spPr>
            <a:xfrm>
              <a:off x="830579" y="8773561"/>
              <a:ext cx="5765475" cy="471283"/>
            </a:xfrm>
            <a:prstGeom prst="rect">
              <a:avLst/>
            </a:prstGeom>
            <a:noFill/>
          </p:spPr>
          <p:txBody>
            <a:bodyPr wrap="square" anchor="ctr">
              <a:noAutofit/>
            </a:bodyPr>
            <a:lstStyle/>
            <a:p>
              <a:pPr marL="0" marR="0" lvl="0" indent="0" defTabSz="914400" eaLnBrk="1" fontAlgn="base" latinLnBrk="0" hangingPunct="1">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prstClr val="black"/>
                  </a:solidFill>
                  <a:effectLst/>
                  <a:uLnTx/>
                  <a:uFillTx/>
                </a:rPr>
                <a:t>Have robust governance and oversight of risk aggregations</a:t>
              </a:r>
            </a:p>
          </p:txBody>
        </p:sp>
      </p:grpSp>
      <p:cxnSp>
        <p:nvCxnSpPr>
          <p:cNvPr id="4" name="Straight Arrow Connector 3">
            <a:extLst>
              <a:ext uri="{FF2B5EF4-FFF2-40B4-BE49-F238E27FC236}">
                <a16:creationId xmlns:a16="http://schemas.microsoft.com/office/drawing/2014/main" id="{EFF119C0-499B-4B35-ACFA-6F01008A7301}"/>
              </a:ext>
            </a:extLst>
          </p:cNvPr>
          <p:cNvCxnSpPr>
            <a:cxnSpLocks/>
            <a:stCxn id="44" idx="2"/>
            <a:endCxn id="49" idx="1"/>
          </p:cNvCxnSpPr>
          <p:nvPr/>
        </p:nvCxnSpPr>
        <p:spPr>
          <a:xfrm>
            <a:off x="3651135" y="3269783"/>
            <a:ext cx="2406051" cy="5694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FA026501-5D2D-4845-9371-AE132AE20ED4}"/>
              </a:ext>
            </a:extLst>
          </p:cNvPr>
          <p:cNvCxnSpPr>
            <a:cxnSpLocks/>
            <a:stCxn id="44" idx="2"/>
            <a:endCxn id="53" idx="1"/>
          </p:cNvCxnSpPr>
          <p:nvPr/>
        </p:nvCxnSpPr>
        <p:spPr>
          <a:xfrm>
            <a:off x="3651135" y="3269783"/>
            <a:ext cx="2406051" cy="66654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A106A37D-8426-47C3-B563-B17160A98B69}"/>
              </a:ext>
            </a:extLst>
          </p:cNvPr>
          <p:cNvCxnSpPr>
            <a:cxnSpLocks/>
            <a:stCxn id="44" idx="2"/>
            <a:endCxn id="61" idx="1"/>
          </p:cNvCxnSpPr>
          <p:nvPr/>
        </p:nvCxnSpPr>
        <p:spPr>
          <a:xfrm>
            <a:off x="3651135" y="3269783"/>
            <a:ext cx="2406051" cy="188574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6448013A-1A6A-45AD-A0B3-24C8F48719B4}"/>
              </a:ext>
            </a:extLst>
          </p:cNvPr>
          <p:cNvCxnSpPr>
            <a:cxnSpLocks/>
            <a:stCxn id="44" idx="2"/>
            <a:endCxn id="57" idx="1"/>
          </p:cNvCxnSpPr>
          <p:nvPr/>
        </p:nvCxnSpPr>
        <p:spPr>
          <a:xfrm>
            <a:off x="3651135" y="3269783"/>
            <a:ext cx="2406051" cy="127614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6FB0874-3704-412A-9493-AA7255829F21}"/>
              </a:ext>
            </a:extLst>
          </p:cNvPr>
          <p:cNvCxnSpPr>
            <a:cxnSpLocks/>
            <a:stCxn id="44" idx="2"/>
            <a:endCxn id="65" idx="1"/>
          </p:cNvCxnSpPr>
          <p:nvPr/>
        </p:nvCxnSpPr>
        <p:spPr>
          <a:xfrm>
            <a:off x="3651135" y="3269783"/>
            <a:ext cx="2406051" cy="2495346"/>
          </a:xfrm>
          <a:prstGeom prst="straightConnector1">
            <a:avLst/>
          </a:prstGeom>
          <a:ln w="63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47159E96-5B1C-4D65-A89B-7174ECE462FF}"/>
              </a:ext>
            </a:extLst>
          </p:cNvPr>
          <p:cNvSpPr txBox="1"/>
          <p:nvPr/>
        </p:nvSpPr>
        <p:spPr>
          <a:xfrm>
            <a:off x="1741703" y="1945575"/>
            <a:ext cx="3818864" cy="576000"/>
          </a:xfrm>
          <a:prstGeom prst="rect">
            <a:avLst/>
          </a:prstGeom>
          <a:solidFill>
            <a:schemeClr val="bg1">
              <a:alpha val="78000"/>
            </a:schemeClr>
          </a:solidFill>
          <a:ln>
            <a:solidFill>
              <a:schemeClr val="accent1"/>
            </a:solidFill>
          </a:ln>
        </p:spPr>
        <p:txBody>
          <a:bodyPr wrap="square" lIns="72000" rIns="72000" rtlCol="0" anchor="ctr">
            <a:noAutofit/>
          </a:bodyPr>
          <a:lstStyle/>
          <a:p>
            <a:pPr algn="ctr"/>
            <a:r>
              <a:rPr lang="en-GB" sz="1200" b="1">
                <a:solidFill>
                  <a:schemeClr val="accent3"/>
                </a:solidFill>
              </a:rPr>
              <a:t>Principle</a:t>
            </a:r>
          </a:p>
        </p:txBody>
      </p:sp>
      <p:sp>
        <p:nvSpPr>
          <p:cNvPr id="76" name="TextBox 75">
            <a:extLst>
              <a:ext uri="{FF2B5EF4-FFF2-40B4-BE49-F238E27FC236}">
                <a16:creationId xmlns:a16="http://schemas.microsoft.com/office/drawing/2014/main" id="{4B623BBA-178E-43F9-B901-48918D49215D}"/>
              </a:ext>
            </a:extLst>
          </p:cNvPr>
          <p:cNvSpPr txBox="1"/>
          <p:nvPr/>
        </p:nvSpPr>
        <p:spPr>
          <a:xfrm>
            <a:off x="6057186" y="1930575"/>
            <a:ext cx="5901244" cy="576000"/>
          </a:xfrm>
          <a:prstGeom prst="rect">
            <a:avLst/>
          </a:prstGeom>
          <a:solidFill>
            <a:schemeClr val="bg1">
              <a:alpha val="78000"/>
            </a:schemeClr>
          </a:solidFill>
          <a:ln>
            <a:solidFill>
              <a:schemeClr val="accent1"/>
            </a:solidFill>
          </a:ln>
        </p:spPr>
        <p:txBody>
          <a:bodyPr wrap="square" lIns="72000" rIns="72000" rtlCol="0" anchor="ctr">
            <a:noAutofit/>
          </a:bodyPr>
          <a:lstStyle/>
          <a:p>
            <a:pPr algn="ctr"/>
            <a:r>
              <a:rPr lang="en-GB" sz="1200" b="1">
                <a:solidFill>
                  <a:schemeClr val="accent3"/>
                </a:solidFill>
              </a:rPr>
              <a:t>Sub-Principles</a:t>
            </a:r>
          </a:p>
        </p:txBody>
      </p:sp>
    </p:spTree>
    <p:extLst>
      <p:ext uri="{BB962C8B-B14F-4D97-AF65-F5344CB8AC3E}">
        <p14:creationId xmlns:p14="http://schemas.microsoft.com/office/powerpoint/2010/main" val="6637921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e Maturity Matrices</a:t>
            </a:r>
          </a:p>
        </p:txBody>
      </p:sp>
      <p:sp>
        <p:nvSpPr>
          <p:cNvPr id="40" name="Arrow: Right 39">
            <a:extLst>
              <a:ext uri="{FF2B5EF4-FFF2-40B4-BE49-F238E27FC236}">
                <a16:creationId xmlns:a16="http://schemas.microsoft.com/office/drawing/2014/main" id="{EDD8BC4A-72EE-445D-ABBC-8F146507E0EE}"/>
              </a:ext>
            </a:extLst>
          </p:cNvPr>
          <p:cNvSpPr/>
          <p:nvPr/>
        </p:nvSpPr>
        <p:spPr>
          <a:xfrm>
            <a:off x="3721074" y="2806323"/>
            <a:ext cx="1399323" cy="393733"/>
          </a:xfrm>
          <a:prstGeom prst="rightArrow">
            <a:avLst/>
          </a:prstGeom>
          <a:solidFill>
            <a:srgbClr val="0021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prstClr val="white"/>
                </a:solidFill>
                <a:effectLst/>
                <a:uLnTx/>
                <a:uFillTx/>
                <a:latin typeface="Arial"/>
                <a:ea typeface="+mn-ea"/>
                <a:cs typeface="+mn-cs"/>
              </a:rPr>
              <a:t>Sub Principle</a:t>
            </a:r>
          </a:p>
        </p:txBody>
      </p:sp>
      <p:pic>
        <p:nvPicPr>
          <p:cNvPr id="49" name="Picture 48">
            <a:extLst>
              <a:ext uri="{FF2B5EF4-FFF2-40B4-BE49-F238E27FC236}">
                <a16:creationId xmlns:a16="http://schemas.microsoft.com/office/drawing/2014/main" id="{B229ECF3-7121-4977-82AA-E0E887B4D6D2}"/>
              </a:ext>
            </a:extLst>
          </p:cNvPr>
          <p:cNvPicPr>
            <a:picLocks noChangeAspect="1"/>
          </p:cNvPicPr>
          <p:nvPr/>
        </p:nvPicPr>
        <p:blipFill>
          <a:blip r:embed="rId2"/>
          <a:stretch>
            <a:fillRect/>
          </a:stretch>
        </p:blipFill>
        <p:spPr>
          <a:xfrm>
            <a:off x="5120398" y="2434749"/>
            <a:ext cx="6501185" cy="3325798"/>
          </a:xfrm>
          <a:prstGeom prst="rect">
            <a:avLst/>
          </a:prstGeom>
        </p:spPr>
      </p:pic>
      <p:sp>
        <p:nvSpPr>
          <p:cNvPr id="41" name="Arrow: Right 40">
            <a:extLst>
              <a:ext uri="{FF2B5EF4-FFF2-40B4-BE49-F238E27FC236}">
                <a16:creationId xmlns:a16="http://schemas.microsoft.com/office/drawing/2014/main" id="{7C44F757-9DE7-44D6-ACED-91CD14A07E0F}"/>
              </a:ext>
            </a:extLst>
          </p:cNvPr>
          <p:cNvSpPr/>
          <p:nvPr/>
        </p:nvSpPr>
        <p:spPr>
          <a:xfrm>
            <a:off x="3721074" y="4580537"/>
            <a:ext cx="1662672" cy="393733"/>
          </a:xfrm>
          <a:prstGeom prst="rightArrow">
            <a:avLst/>
          </a:prstGeom>
          <a:solidFill>
            <a:srgbClr val="0021A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prstClr val="white"/>
                </a:solidFill>
                <a:effectLst/>
                <a:uLnTx/>
                <a:uFillTx/>
                <a:latin typeface="Arial"/>
                <a:ea typeface="+mn-ea"/>
                <a:cs typeface="+mn-cs"/>
              </a:rPr>
              <a:t>Guidance</a:t>
            </a:r>
            <a:r>
              <a:rPr kumimoji="0" lang="en-GB" sz="800" b="0" i="0" u="none" strike="noStrike" kern="0" cap="none" spc="0" normalizeH="0" baseline="0" noProof="0">
                <a:ln>
                  <a:noFill/>
                </a:ln>
                <a:solidFill>
                  <a:prstClr val="white"/>
                </a:solidFill>
                <a:effectLst/>
                <a:uLnTx/>
                <a:uFillTx/>
                <a:latin typeface="Arial"/>
                <a:ea typeface="+mn-ea"/>
                <a:cs typeface="+mn-cs"/>
              </a:rPr>
              <a:t> </a:t>
            </a:r>
          </a:p>
        </p:txBody>
      </p:sp>
      <p:sp>
        <p:nvSpPr>
          <p:cNvPr id="8" name="Rectangle: Rounded Corners 7">
            <a:extLst>
              <a:ext uri="{FF2B5EF4-FFF2-40B4-BE49-F238E27FC236}">
                <a16:creationId xmlns:a16="http://schemas.microsoft.com/office/drawing/2014/main" id="{DA7B20E8-14AA-45F8-A4D8-9B98A0B97657}"/>
              </a:ext>
            </a:extLst>
          </p:cNvPr>
          <p:cNvSpPr/>
          <p:nvPr/>
        </p:nvSpPr>
        <p:spPr>
          <a:xfrm>
            <a:off x="954555" y="4974270"/>
            <a:ext cx="2235200" cy="83648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GB" sz="1100" b="1"/>
              <a:t>Read from left to right</a:t>
            </a:r>
            <a:r>
              <a:rPr lang="en-GB" sz="1100"/>
              <a:t>, as the guidance at one level can be understood as the starting point for the next.</a:t>
            </a:r>
            <a:endParaRPr lang="en-GB" sz="1100" b="1">
              <a:solidFill>
                <a:schemeClr val="accent3"/>
              </a:solidFill>
            </a:endParaRPr>
          </a:p>
        </p:txBody>
      </p:sp>
      <p:sp>
        <p:nvSpPr>
          <p:cNvPr id="53" name="Rectangle: Rounded Corners 52">
            <a:extLst>
              <a:ext uri="{FF2B5EF4-FFF2-40B4-BE49-F238E27FC236}">
                <a16:creationId xmlns:a16="http://schemas.microsoft.com/office/drawing/2014/main" id="{A5B7A246-6F90-4800-B9C2-3762A2A791BC}"/>
              </a:ext>
            </a:extLst>
          </p:cNvPr>
          <p:cNvSpPr/>
          <p:nvPr/>
        </p:nvSpPr>
        <p:spPr>
          <a:xfrm>
            <a:off x="920063" y="2969898"/>
            <a:ext cx="2235200" cy="836480"/>
          </a:xfrm>
          <a:prstGeom prst="roundRect">
            <a:avLst/>
          </a:prstGeom>
          <a:ln/>
        </p:spPr>
        <p:style>
          <a:lnRef idx="2">
            <a:schemeClr val="accent4"/>
          </a:lnRef>
          <a:fillRef idx="1">
            <a:schemeClr val="lt1"/>
          </a:fillRef>
          <a:effectRef idx="0">
            <a:schemeClr val="accent4"/>
          </a:effectRef>
          <a:fontRef idx="minor">
            <a:schemeClr val="dk1"/>
          </a:fontRef>
        </p:style>
        <p:txBody>
          <a:bodyPr rtlCol="0" anchor="ctr"/>
          <a:lstStyle/>
          <a:p>
            <a:pPr algn="ctr"/>
            <a:r>
              <a:rPr lang="en-GB" sz="1100" b="1"/>
              <a:t>Indicators &amp; suggestions </a:t>
            </a:r>
            <a:r>
              <a:rPr lang="en-GB" sz="1100"/>
              <a:t>– </a:t>
            </a:r>
            <a:r>
              <a:rPr lang="en-GB" sz="1100" i="1"/>
              <a:t>not </a:t>
            </a:r>
            <a:r>
              <a:rPr lang="en-GB" sz="1100"/>
              <a:t>requirements</a:t>
            </a:r>
            <a:endParaRPr lang="en-GB" sz="1100" b="1">
              <a:solidFill>
                <a:schemeClr val="accent3"/>
              </a:solidFill>
            </a:endParaRPr>
          </a:p>
        </p:txBody>
      </p:sp>
      <p:sp>
        <p:nvSpPr>
          <p:cNvPr id="54" name="Rectangle: Rounded Corners 53">
            <a:extLst>
              <a:ext uri="{FF2B5EF4-FFF2-40B4-BE49-F238E27FC236}">
                <a16:creationId xmlns:a16="http://schemas.microsoft.com/office/drawing/2014/main" id="{CAF07297-14F9-4140-B2AE-EC8168604CA2}"/>
              </a:ext>
            </a:extLst>
          </p:cNvPr>
          <p:cNvSpPr/>
          <p:nvPr/>
        </p:nvSpPr>
        <p:spPr>
          <a:xfrm>
            <a:off x="920063" y="1967712"/>
            <a:ext cx="2235200" cy="836480"/>
          </a:xfrm>
          <a:prstGeom prst="roundRect">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GB" sz="1100" b="1"/>
              <a:t>Materiality to the Principles </a:t>
            </a:r>
            <a:r>
              <a:rPr lang="en-GB" sz="1100"/>
              <a:t>informs expected sophistication</a:t>
            </a:r>
            <a:endParaRPr lang="en-GB" sz="1100" b="1">
              <a:solidFill>
                <a:schemeClr val="accent3"/>
              </a:solidFill>
            </a:endParaRPr>
          </a:p>
        </p:txBody>
      </p:sp>
      <p:sp>
        <p:nvSpPr>
          <p:cNvPr id="55" name="Rectangle: Rounded Corners 54">
            <a:extLst>
              <a:ext uri="{FF2B5EF4-FFF2-40B4-BE49-F238E27FC236}">
                <a16:creationId xmlns:a16="http://schemas.microsoft.com/office/drawing/2014/main" id="{276DC5D9-71E1-4754-AAD0-D698A13E14AE}"/>
              </a:ext>
            </a:extLst>
          </p:cNvPr>
          <p:cNvSpPr/>
          <p:nvPr/>
        </p:nvSpPr>
        <p:spPr>
          <a:xfrm>
            <a:off x="920063" y="3972084"/>
            <a:ext cx="2235200" cy="836480"/>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100" b="1"/>
              <a:t>Foundational</a:t>
            </a:r>
            <a:r>
              <a:rPr lang="en-GB" sz="1100"/>
              <a:t> </a:t>
            </a:r>
            <a:r>
              <a:rPr lang="en-GB" sz="1100" b="1"/>
              <a:t>broadly aligns </a:t>
            </a:r>
            <a:r>
              <a:rPr lang="en-GB" sz="1100"/>
              <a:t>with the expectations from the </a:t>
            </a:r>
            <a:r>
              <a:rPr lang="en-GB" sz="1100" b="1"/>
              <a:t>previous minimum standards</a:t>
            </a:r>
            <a:endParaRPr lang="en-GB" sz="1100" b="1">
              <a:solidFill>
                <a:schemeClr val="accent3"/>
              </a:solidFill>
            </a:endParaRPr>
          </a:p>
        </p:txBody>
      </p:sp>
      <p:sp>
        <p:nvSpPr>
          <p:cNvPr id="5" name="Arrow: Chevron 4">
            <a:extLst>
              <a:ext uri="{FF2B5EF4-FFF2-40B4-BE49-F238E27FC236}">
                <a16:creationId xmlns:a16="http://schemas.microsoft.com/office/drawing/2014/main" id="{EFA579D3-CB57-410B-9036-221D849D5A07}"/>
              </a:ext>
            </a:extLst>
          </p:cNvPr>
          <p:cNvSpPr/>
          <p:nvPr/>
        </p:nvSpPr>
        <p:spPr>
          <a:xfrm>
            <a:off x="5588287" y="5837308"/>
            <a:ext cx="1519629" cy="246801"/>
          </a:xfrm>
          <a:custGeom>
            <a:avLst/>
            <a:gdLst>
              <a:gd name="connsiteX0" fmla="*/ 0 w 1517715"/>
              <a:gd name="connsiteY0" fmla="*/ 0 h 246801"/>
              <a:gd name="connsiteX1" fmla="*/ 1403742 w 1517715"/>
              <a:gd name="connsiteY1" fmla="*/ 0 h 246801"/>
              <a:gd name="connsiteX2" fmla="*/ 1517715 w 1517715"/>
              <a:gd name="connsiteY2" fmla="*/ 123401 h 246801"/>
              <a:gd name="connsiteX3" fmla="*/ 1403742 w 1517715"/>
              <a:gd name="connsiteY3" fmla="*/ 246801 h 246801"/>
              <a:gd name="connsiteX4" fmla="*/ 0 w 1517715"/>
              <a:gd name="connsiteY4" fmla="*/ 246801 h 246801"/>
              <a:gd name="connsiteX5" fmla="*/ 113973 w 1517715"/>
              <a:gd name="connsiteY5" fmla="*/ 123401 h 246801"/>
              <a:gd name="connsiteX6" fmla="*/ 0 w 1517715"/>
              <a:gd name="connsiteY6" fmla="*/ 0 h 246801"/>
              <a:gd name="connsiteX0" fmla="*/ 0 w 1517715"/>
              <a:gd name="connsiteY0" fmla="*/ 0 h 246801"/>
              <a:gd name="connsiteX1" fmla="*/ 1403742 w 1517715"/>
              <a:gd name="connsiteY1" fmla="*/ 0 h 246801"/>
              <a:gd name="connsiteX2" fmla="*/ 1517715 w 1517715"/>
              <a:gd name="connsiteY2" fmla="*/ 123401 h 246801"/>
              <a:gd name="connsiteX3" fmla="*/ 1403742 w 1517715"/>
              <a:gd name="connsiteY3" fmla="*/ 246801 h 246801"/>
              <a:gd name="connsiteX4" fmla="*/ 0 w 1517715"/>
              <a:gd name="connsiteY4" fmla="*/ 246801 h 246801"/>
              <a:gd name="connsiteX5" fmla="*/ 10278 w 1517715"/>
              <a:gd name="connsiteY5" fmla="*/ 123401 h 246801"/>
              <a:gd name="connsiteX6" fmla="*/ 0 w 1517715"/>
              <a:gd name="connsiteY6" fmla="*/ 0 h 246801"/>
              <a:gd name="connsiteX0" fmla="*/ 1914 w 1519629"/>
              <a:gd name="connsiteY0" fmla="*/ 0 h 246801"/>
              <a:gd name="connsiteX1" fmla="*/ 1405656 w 1519629"/>
              <a:gd name="connsiteY1" fmla="*/ 0 h 246801"/>
              <a:gd name="connsiteX2" fmla="*/ 1519629 w 1519629"/>
              <a:gd name="connsiteY2" fmla="*/ 123401 h 246801"/>
              <a:gd name="connsiteX3" fmla="*/ 1405656 w 1519629"/>
              <a:gd name="connsiteY3" fmla="*/ 246801 h 246801"/>
              <a:gd name="connsiteX4" fmla="*/ 1914 w 1519629"/>
              <a:gd name="connsiteY4" fmla="*/ 246801 h 246801"/>
              <a:gd name="connsiteX5" fmla="*/ 0 w 1519629"/>
              <a:gd name="connsiteY5" fmla="*/ 123401 h 246801"/>
              <a:gd name="connsiteX6" fmla="*/ 1914 w 1519629"/>
              <a:gd name="connsiteY6" fmla="*/ 0 h 24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9629" h="246801">
                <a:moveTo>
                  <a:pt x="1914" y="0"/>
                </a:moveTo>
                <a:lnTo>
                  <a:pt x="1405656" y="0"/>
                </a:lnTo>
                <a:lnTo>
                  <a:pt x="1519629" y="123401"/>
                </a:lnTo>
                <a:lnTo>
                  <a:pt x="1405656" y="246801"/>
                </a:lnTo>
                <a:lnTo>
                  <a:pt x="1914" y="246801"/>
                </a:lnTo>
                <a:lnTo>
                  <a:pt x="0" y="123401"/>
                </a:lnTo>
                <a:lnTo>
                  <a:pt x="1914" y="0"/>
                </a:ln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Low materiality </a:t>
            </a:r>
            <a:endParaRPr lang="en-GB" sz="1050"/>
          </a:p>
        </p:txBody>
      </p:sp>
      <p:sp>
        <p:nvSpPr>
          <p:cNvPr id="44" name="Arrow: Chevron 43">
            <a:extLst>
              <a:ext uri="{FF2B5EF4-FFF2-40B4-BE49-F238E27FC236}">
                <a16:creationId xmlns:a16="http://schemas.microsoft.com/office/drawing/2014/main" id="{5598B78F-8C27-4727-9660-BE4879C12979}"/>
              </a:ext>
            </a:extLst>
          </p:cNvPr>
          <p:cNvSpPr/>
          <p:nvPr/>
        </p:nvSpPr>
        <p:spPr>
          <a:xfrm>
            <a:off x="7089062" y="5837307"/>
            <a:ext cx="1517715" cy="246801"/>
          </a:xfrm>
          <a:prstGeom prst="chevro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Moderate materiality  </a:t>
            </a:r>
          </a:p>
        </p:txBody>
      </p:sp>
      <p:sp>
        <p:nvSpPr>
          <p:cNvPr id="45" name="Arrow: Chevron 44">
            <a:extLst>
              <a:ext uri="{FF2B5EF4-FFF2-40B4-BE49-F238E27FC236}">
                <a16:creationId xmlns:a16="http://schemas.microsoft.com/office/drawing/2014/main" id="{7B1A26AF-0C22-430A-BADD-AA0B98A31A8F}"/>
              </a:ext>
            </a:extLst>
          </p:cNvPr>
          <p:cNvSpPr/>
          <p:nvPr/>
        </p:nvSpPr>
        <p:spPr>
          <a:xfrm>
            <a:off x="8578496" y="5837307"/>
            <a:ext cx="1517715" cy="246801"/>
          </a:xfrm>
          <a:prstGeom prst="chevr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High materiality </a:t>
            </a:r>
          </a:p>
        </p:txBody>
      </p:sp>
      <p:sp>
        <p:nvSpPr>
          <p:cNvPr id="46" name="Arrow: Chevron 45">
            <a:extLst>
              <a:ext uri="{FF2B5EF4-FFF2-40B4-BE49-F238E27FC236}">
                <a16:creationId xmlns:a16="http://schemas.microsoft.com/office/drawing/2014/main" id="{44024B08-B80E-440B-A286-764154A3F6E3}"/>
              </a:ext>
            </a:extLst>
          </p:cNvPr>
          <p:cNvSpPr/>
          <p:nvPr/>
        </p:nvSpPr>
        <p:spPr>
          <a:xfrm>
            <a:off x="10039473" y="5837306"/>
            <a:ext cx="1442482" cy="246801"/>
          </a:xfrm>
          <a:custGeom>
            <a:avLst/>
            <a:gdLst>
              <a:gd name="connsiteX0" fmla="*/ 0 w 1531611"/>
              <a:gd name="connsiteY0" fmla="*/ 0 h 246801"/>
              <a:gd name="connsiteX1" fmla="*/ 1389357 w 1531611"/>
              <a:gd name="connsiteY1" fmla="*/ 0 h 246801"/>
              <a:gd name="connsiteX2" fmla="*/ 1531611 w 1531611"/>
              <a:gd name="connsiteY2" fmla="*/ 123401 h 246801"/>
              <a:gd name="connsiteX3" fmla="*/ 1389357 w 1531611"/>
              <a:gd name="connsiteY3" fmla="*/ 246801 h 246801"/>
              <a:gd name="connsiteX4" fmla="*/ 0 w 1531611"/>
              <a:gd name="connsiteY4" fmla="*/ 246801 h 246801"/>
              <a:gd name="connsiteX5" fmla="*/ 142254 w 1531611"/>
              <a:gd name="connsiteY5" fmla="*/ 123401 h 246801"/>
              <a:gd name="connsiteX6" fmla="*/ 0 w 1531611"/>
              <a:gd name="connsiteY6" fmla="*/ 0 h 246801"/>
              <a:gd name="connsiteX0" fmla="*/ 0 w 1403595"/>
              <a:gd name="connsiteY0" fmla="*/ 0 h 246801"/>
              <a:gd name="connsiteX1" fmla="*/ 1389357 w 1403595"/>
              <a:gd name="connsiteY1" fmla="*/ 0 h 246801"/>
              <a:gd name="connsiteX2" fmla="*/ 1403595 w 1403595"/>
              <a:gd name="connsiteY2" fmla="*/ 105113 h 246801"/>
              <a:gd name="connsiteX3" fmla="*/ 1389357 w 1403595"/>
              <a:gd name="connsiteY3" fmla="*/ 246801 h 246801"/>
              <a:gd name="connsiteX4" fmla="*/ 0 w 1403595"/>
              <a:gd name="connsiteY4" fmla="*/ 246801 h 246801"/>
              <a:gd name="connsiteX5" fmla="*/ 142254 w 1403595"/>
              <a:gd name="connsiteY5" fmla="*/ 123401 h 246801"/>
              <a:gd name="connsiteX6" fmla="*/ 0 w 1403595"/>
              <a:gd name="connsiteY6" fmla="*/ 0 h 246801"/>
              <a:gd name="connsiteX0" fmla="*/ 0 w 1389357"/>
              <a:gd name="connsiteY0" fmla="*/ 0 h 246801"/>
              <a:gd name="connsiteX1" fmla="*/ 1389357 w 1389357"/>
              <a:gd name="connsiteY1" fmla="*/ 0 h 246801"/>
              <a:gd name="connsiteX2" fmla="*/ 1385307 w 1389357"/>
              <a:gd name="connsiteY2" fmla="*/ 105113 h 246801"/>
              <a:gd name="connsiteX3" fmla="*/ 1389357 w 1389357"/>
              <a:gd name="connsiteY3" fmla="*/ 246801 h 246801"/>
              <a:gd name="connsiteX4" fmla="*/ 0 w 1389357"/>
              <a:gd name="connsiteY4" fmla="*/ 246801 h 246801"/>
              <a:gd name="connsiteX5" fmla="*/ 142254 w 1389357"/>
              <a:gd name="connsiteY5" fmla="*/ 123401 h 246801"/>
              <a:gd name="connsiteX6" fmla="*/ 0 w 1389357"/>
              <a:gd name="connsiteY6" fmla="*/ 0 h 246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9357" h="246801">
                <a:moveTo>
                  <a:pt x="0" y="0"/>
                </a:moveTo>
                <a:lnTo>
                  <a:pt x="1389357" y="0"/>
                </a:lnTo>
                <a:lnTo>
                  <a:pt x="1385307" y="105113"/>
                </a:lnTo>
                <a:lnTo>
                  <a:pt x="1389357" y="246801"/>
                </a:lnTo>
                <a:lnTo>
                  <a:pt x="0" y="246801"/>
                </a:lnTo>
                <a:lnTo>
                  <a:pt x="142254" y="123401"/>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Highest materiality</a:t>
            </a:r>
          </a:p>
        </p:txBody>
      </p:sp>
      <p:sp>
        <p:nvSpPr>
          <p:cNvPr id="47" name="TextBox 46">
            <a:extLst>
              <a:ext uri="{FF2B5EF4-FFF2-40B4-BE49-F238E27FC236}">
                <a16:creationId xmlns:a16="http://schemas.microsoft.com/office/drawing/2014/main" id="{ED72E82F-919B-49BC-9CE7-81755B14DF69}"/>
              </a:ext>
            </a:extLst>
          </p:cNvPr>
          <p:cNvSpPr txBox="1"/>
          <p:nvPr/>
        </p:nvSpPr>
        <p:spPr>
          <a:xfrm>
            <a:off x="5420368" y="1570749"/>
            <a:ext cx="5901244" cy="576000"/>
          </a:xfrm>
          <a:prstGeom prst="rect">
            <a:avLst/>
          </a:prstGeom>
          <a:solidFill>
            <a:schemeClr val="bg1">
              <a:alpha val="78000"/>
            </a:schemeClr>
          </a:solidFill>
          <a:ln>
            <a:solidFill>
              <a:schemeClr val="accent1"/>
            </a:solidFill>
          </a:ln>
        </p:spPr>
        <p:txBody>
          <a:bodyPr wrap="square" lIns="72000" rIns="72000" rtlCol="0" anchor="ctr">
            <a:noAutofit/>
          </a:bodyPr>
          <a:lstStyle/>
          <a:p>
            <a:pPr algn="ctr"/>
            <a:r>
              <a:rPr lang="en-GB" sz="1200" b="1">
                <a:solidFill>
                  <a:schemeClr val="accent3"/>
                </a:solidFill>
              </a:rPr>
              <a:t>Maturity Matrix </a:t>
            </a:r>
          </a:p>
        </p:txBody>
      </p:sp>
    </p:spTree>
    <p:extLst>
      <p:ext uri="{BB962C8B-B14F-4D97-AF65-F5344CB8AC3E}">
        <p14:creationId xmlns:p14="http://schemas.microsoft.com/office/powerpoint/2010/main" val="13171047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Levels of maturity – generic definitions</a:t>
            </a:r>
          </a:p>
        </p:txBody>
      </p:sp>
      <p:pic>
        <p:nvPicPr>
          <p:cNvPr id="5" name="Picture 4">
            <a:extLst>
              <a:ext uri="{FF2B5EF4-FFF2-40B4-BE49-F238E27FC236}">
                <a16:creationId xmlns:a16="http://schemas.microsoft.com/office/drawing/2014/main" id="{5B08EEAC-5671-4653-B646-CF113E1C5E01}"/>
              </a:ext>
            </a:extLst>
          </p:cNvPr>
          <p:cNvPicPr>
            <a:picLocks noChangeAspect="1"/>
          </p:cNvPicPr>
          <p:nvPr/>
        </p:nvPicPr>
        <p:blipFill rotWithShape="1">
          <a:blip r:embed="rId2"/>
          <a:srcRect b="18991"/>
          <a:stretch/>
        </p:blipFill>
        <p:spPr>
          <a:xfrm>
            <a:off x="1501072" y="1926267"/>
            <a:ext cx="9011851" cy="3005465"/>
          </a:xfrm>
          <a:prstGeom prst="rect">
            <a:avLst/>
          </a:prstGeom>
          <a:ln w="12700">
            <a:solidFill>
              <a:schemeClr val="tx1"/>
            </a:solidFill>
          </a:ln>
        </p:spPr>
      </p:pic>
    </p:spTree>
    <p:extLst>
      <p:ext uri="{BB962C8B-B14F-4D97-AF65-F5344CB8AC3E}">
        <p14:creationId xmlns:p14="http://schemas.microsoft.com/office/powerpoint/2010/main" val="11734099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Syndicate categorisation </a:t>
            </a:r>
          </a:p>
        </p:txBody>
      </p:sp>
      <p:sp>
        <p:nvSpPr>
          <p:cNvPr id="31" name="Freeform: Shape 30">
            <a:extLst>
              <a:ext uri="{FF2B5EF4-FFF2-40B4-BE49-F238E27FC236}">
                <a16:creationId xmlns:a16="http://schemas.microsoft.com/office/drawing/2014/main" id="{D3B44ED0-522C-48BD-9CC0-4AEBA773DEE2}"/>
              </a:ext>
            </a:extLst>
          </p:cNvPr>
          <p:cNvSpPr/>
          <p:nvPr/>
        </p:nvSpPr>
        <p:spPr>
          <a:xfrm>
            <a:off x="4440761"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3493529"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6051151"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6531183"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2523419" y="235938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3236752" y="203351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7197517"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8847665"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5380292"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7452911"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5651573"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3291717"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3083653"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6" name="Rectangle 5">
            <a:extLst>
              <a:ext uri="{FF2B5EF4-FFF2-40B4-BE49-F238E27FC236}">
                <a16:creationId xmlns:a16="http://schemas.microsoft.com/office/drawing/2014/main" id="{849178CE-EC7E-4239-AD72-892E1DC62604}"/>
              </a:ext>
            </a:extLst>
          </p:cNvPr>
          <p:cNvSpPr/>
          <p:nvPr/>
        </p:nvSpPr>
        <p:spPr>
          <a:xfrm>
            <a:off x="3762947"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1838138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7F158-C689-4706-BC6F-F9C894F24214}"/>
              </a:ext>
            </a:extLst>
          </p:cNvPr>
          <p:cNvSpPr>
            <a:spLocks noGrp="1"/>
          </p:cNvSpPr>
          <p:nvPr>
            <p:ph type="title"/>
          </p:nvPr>
        </p:nvSpPr>
        <p:spPr/>
        <p:txBody>
          <a:bodyPr/>
          <a:lstStyle/>
          <a:p>
            <a:r>
              <a:rPr lang="en-GB"/>
              <a:t>Oversight Framework </a:t>
            </a:r>
          </a:p>
        </p:txBody>
      </p:sp>
      <p:graphicFrame>
        <p:nvGraphicFramePr>
          <p:cNvPr id="6" name="Table 5">
            <a:extLst>
              <a:ext uri="{FF2B5EF4-FFF2-40B4-BE49-F238E27FC236}">
                <a16:creationId xmlns:a16="http://schemas.microsoft.com/office/drawing/2014/main" id="{699D4CD4-C372-4A77-A70D-49A5BFBDC501}"/>
              </a:ext>
            </a:extLst>
          </p:cNvPr>
          <p:cNvGraphicFramePr>
            <a:graphicFrameLocks noGrp="1"/>
          </p:cNvGraphicFramePr>
          <p:nvPr/>
        </p:nvGraphicFramePr>
        <p:xfrm>
          <a:off x="533399" y="1661043"/>
          <a:ext cx="4602473" cy="4404112"/>
        </p:xfrm>
        <a:graphic>
          <a:graphicData uri="http://schemas.openxmlformats.org/drawingml/2006/table">
            <a:tbl>
              <a:tblPr firstRow="1" firstCol="1" bandRow="1"/>
              <a:tblGrid>
                <a:gridCol w="1005557">
                  <a:extLst>
                    <a:ext uri="{9D8B030D-6E8A-4147-A177-3AD203B41FA5}">
                      <a16:colId xmlns:a16="http://schemas.microsoft.com/office/drawing/2014/main" val="3746951201"/>
                    </a:ext>
                  </a:extLst>
                </a:gridCol>
                <a:gridCol w="2255381">
                  <a:extLst>
                    <a:ext uri="{9D8B030D-6E8A-4147-A177-3AD203B41FA5}">
                      <a16:colId xmlns:a16="http://schemas.microsoft.com/office/drawing/2014/main" val="3966950723"/>
                    </a:ext>
                  </a:extLst>
                </a:gridCol>
                <a:gridCol w="1341535">
                  <a:extLst>
                    <a:ext uri="{9D8B030D-6E8A-4147-A177-3AD203B41FA5}">
                      <a16:colId xmlns:a16="http://schemas.microsoft.com/office/drawing/2014/main" val="1500257441"/>
                    </a:ext>
                  </a:extLst>
                </a:gridCol>
              </a:tblGrid>
              <a:tr h="291828">
                <a:tc gridSpan="2">
                  <a:txBody>
                    <a:bodyPr/>
                    <a:lstStyle/>
                    <a:p>
                      <a:pPr algn="ctr" fontAlgn="base"/>
                      <a:r>
                        <a:rPr lang="en-GB" sz="1000">
                          <a:effectLst/>
                          <a:latin typeface="Arial" panose="020B0604020202020204" pitchFamily="34" charset="0"/>
                          <a:ea typeface="Times New Roman" panose="02020603050405020304" pitchFamily="18" charset="0"/>
                        </a:rPr>
                        <a:t>Oversight Dimensions</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GB"/>
                    </a:p>
                  </a:txBody>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Arial" panose="020B0604020202020204" pitchFamily="34" charset="0"/>
                          <a:ea typeface="Times New Roman" panose="02020603050405020304" pitchFamily="18" charset="0"/>
                        </a:rPr>
                        <a:t>Expected Maturity</a:t>
                      </a: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090765"/>
                  </a:ext>
                </a:extLst>
              </a:tr>
              <a:tr h="291828">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319208"/>
                  </a:ext>
                </a:extLst>
              </a:tr>
              <a:tr h="291828">
                <a:tc rowSpan="6">
                  <a:txBody>
                    <a:bodyPr/>
                    <a:lstStyle/>
                    <a:p>
                      <a:pPr algn="ctr" fontAlgn="base"/>
                      <a:r>
                        <a:rPr lang="en-GB" sz="1000">
                          <a:effectLst/>
                          <a:latin typeface="Arial" panose="020B0604020202020204" pitchFamily="34" charset="0"/>
                          <a:ea typeface="Times New Roman" panose="02020603050405020304" pitchFamily="18" charset="0"/>
                        </a:rPr>
                        <a:t>Performance</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Underwriting Profitabil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Advanced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2482229691"/>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atastrophe Expos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2119703118"/>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utwards Reinsura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Foundational</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49817805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laims Management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Intermediate</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921891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stomer Outcome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48399208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serv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Advanced</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extLst>
                  <a:ext uri="{0D108BD9-81ED-4DB2-BD59-A6C34878D82A}">
                    <a16:rowId xmlns:a16="http://schemas.microsoft.com/office/drawing/2014/main" val="3982563311"/>
                  </a:ext>
                </a:extLst>
              </a:tr>
              <a:tr h="291828">
                <a:tc rowSpan="3">
                  <a:txBody>
                    <a:bodyPr/>
                    <a:lstStyle/>
                    <a:p>
                      <a:pPr algn="ctr" fontAlgn="base"/>
                      <a:r>
                        <a:rPr lang="en-GB" sz="1000">
                          <a:effectLst/>
                          <a:latin typeface="Arial" panose="020B0604020202020204" pitchFamily="34" charset="0"/>
                          <a:ea typeface="Times New Roman" panose="02020603050405020304" pitchFamily="18" charset="0"/>
                        </a:rPr>
                        <a:t>Solvency</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Capital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67762643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Investment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100" kern="1200">
                        <a:solidFill>
                          <a:schemeClr val="bg1"/>
                        </a:solidFill>
                        <a:effectLst/>
                        <a:latin typeface="Arial" panose="020B0604020202020204" pitchFamily="34" charset="0"/>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2574811646"/>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Liquid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78577780"/>
                  </a:ext>
                </a:extLst>
              </a:tr>
              <a:tr h="291158">
                <a:tc rowSpan="4">
                  <a:txBody>
                    <a:bodyPr/>
                    <a:lstStyle/>
                    <a:p>
                      <a:pPr algn="ctr" fontAlgn="base"/>
                      <a:r>
                        <a:rPr lang="en-GB" sz="1000">
                          <a:effectLst/>
                          <a:latin typeface="Arial" panose="020B0604020202020204" pitchFamily="34" charset="0"/>
                          <a:ea typeface="Times New Roman" panose="02020603050405020304" pitchFamily="18" charset="0"/>
                        </a:rPr>
                        <a:t>Operational</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Governance, Risk Management and Report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3772664068"/>
                  </a:ext>
                </a:extLst>
              </a:tr>
              <a:tr h="30554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gulatory and Financial Crim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325822749"/>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perational Resilie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447938100"/>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lt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558443190"/>
                  </a:ext>
                </a:extLst>
              </a:tr>
            </a:tbl>
          </a:graphicData>
        </a:graphic>
      </p:graphicFrame>
      <p:sp>
        <p:nvSpPr>
          <p:cNvPr id="5" name="Text Placeholder 4">
            <a:extLst>
              <a:ext uri="{FF2B5EF4-FFF2-40B4-BE49-F238E27FC236}">
                <a16:creationId xmlns:a16="http://schemas.microsoft.com/office/drawing/2014/main" id="{E47B7A74-4E94-42A2-BFF2-7170532D7273}"/>
              </a:ext>
            </a:extLst>
          </p:cNvPr>
          <p:cNvSpPr>
            <a:spLocks noGrp="1"/>
          </p:cNvSpPr>
          <p:nvPr>
            <p:ph type="body" sz="quarter" idx="17"/>
          </p:nvPr>
        </p:nvSpPr>
        <p:spPr>
          <a:xfrm>
            <a:off x="533400" y="1100138"/>
            <a:ext cx="11160125" cy="307777"/>
          </a:xfrm>
        </p:spPr>
        <p:txBody>
          <a:bodyPr/>
          <a:lstStyle/>
          <a:p>
            <a:r>
              <a:rPr lang="en-GB">
                <a:solidFill>
                  <a:schemeClr val="accent3"/>
                </a:solidFill>
              </a:rPr>
              <a:t>Syndicate categorisation </a:t>
            </a:r>
          </a:p>
        </p:txBody>
      </p:sp>
    </p:spTree>
    <p:extLst>
      <p:ext uri="{BB962C8B-B14F-4D97-AF65-F5344CB8AC3E}">
        <p14:creationId xmlns:p14="http://schemas.microsoft.com/office/powerpoint/2010/main" val="121399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7F158-C689-4706-BC6F-F9C894F24214}"/>
              </a:ext>
            </a:extLst>
          </p:cNvPr>
          <p:cNvSpPr>
            <a:spLocks noGrp="1"/>
          </p:cNvSpPr>
          <p:nvPr>
            <p:ph type="title"/>
          </p:nvPr>
        </p:nvSpPr>
        <p:spPr/>
        <p:txBody>
          <a:bodyPr/>
          <a:lstStyle/>
          <a:p>
            <a:r>
              <a:rPr lang="en-GB"/>
              <a:t>Oversight Framework </a:t>
            </a:r>
          </a:p>
        </p:txBody>
      </p:sp>
      <p:graphicFrame>
        <p:nvGraphicFramePr>
          <p:cNvPr id="6" name="Table 5">
            <a:extLst>
              <a:ext uri="{FF2B5EF4-FFF2-40B4-BE49-F238E27FC236}">
                <a16:creationId xmlns:a16="http://schemas.microsoft.com/office/drawing/2014/main" id="{699D4CD4-C372-4A77-A70D-49A5BFBDC501}"/>
              </a:ext>
            </a:extLst>
          </p:cNvPr>
          <p:cNvGraphicFramePr>
            <a:graphicFrameLocks noGrp="1"/>
          </p:cNvGraphicFramePr>
          <p:nvPr/>
        </p:nvGraphicFramePr>
        <p:xfrm>
          <a:off x="533399" y="1661043"/>
          <a:ext cx="7567663" cy="4404112"/>
        </p:xfrm>
        <a:graphic>
          <a:graphicData uri="http://schemas.openxmlformats.org/drawingml/2006/table">
            <a:tbl>
              <a:tblPr firstRow="1" firstCol="1" bandRow="1"/>
              <a:tblGrid>
                <a:gridCol w="1005557">
                  <a:extLst>
                    <a:ext uri="{9D8B030D-6E8A-4147-A177-3AD203B41FA5}">
                      <a16:colId xmlns:a16="http://schemas.microsoft.com/office/drawing/2014/main" val="3746951201"/>
                    </a:ext>
                  </a:extLst>
                </a:gridCol>
                <a:gridCol w="2255381">
                  <a:extLst>
                    <a:ext uri="{9D8B030D-6E8A-4147-A177-3AD203B41FA5}">
                      <a16:colId xmlns:a16="http://schemas.microsoft.com/office/drawing/2014/main" val="3966950723"/>
                    </a:ext>
                  </a:extLst>
                </a:gridCol>
                <a:gridCol w="1341535">
                  <a:extLst>
                    <a:ext uri="{9D8B030D-6E8A-4147-A177-3AD203B41FA5}">
                      <a16:colId xmlns:a16="http://schemas.microsoft.com/office/drawing/2014/main" val="1500257441"/>
                    </a:ext>
                  </a:extLst>
                </a:gridCol>
                <a:gridCol w="1401202">
                  <a:extLst>
                    <a:ext uri="{9D8B030D-6E8A-4147-A177-3AD203B41FA5}">
                      <a16:colId xmlns:a16="http://schemas.microsoft.com/office/drawing/2014/main" val="533503734"/>
                    </a:ext>
                  </a:extLst>
                </a:gridCol>
                <a:gridCol w="1563988">
                  <a:extLst>
                    <a:ext uri="{9D8B030D-6E8A-4147-A177-3AD203B41FA5}">
                      <a16:colId xmlns:a16="http://schemas.microsoft.com/office/drawing/2014/main" val="4161276954"/>
                    </a:ext>
                  </a:extLst>
                </a:gridCol>
              </a:tblGrid>
              <a:tr h="291828">
                <a:tc gridSpan="2">
                  <a:txBody>
                    <a:bodyPr/>
                    <a:lstStyle/>
                    <a:p>
                      <a:pPr algn="ctr" fontAlgn="base"/>
                      <a:r>
                        <a:rPr lang="en-GB" sz="1000">
                          <a:effectLst/>
                          <a:latin typeface="Arial" panose="020B0604020202020204" pitchFamily="34" charset="0"/>
                          <a:ea typeface="Times New Roman" panose="02020603050405020304" pitchFamily="18" charset="0"/>
                        </a:rPr>
                        <a:t>Oversight Dimensions</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GB"/>
                    </a:p>
                  </a:txBody>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Arial" panose="020B0604020202020204" pitchFamily="34" charset="0"/>
                          <a:ea typeface="Times New Roman" panose="02020603050405020304" pitchFamily="18" charset="0"/>
                        </a:rPr>
                        <a:t>Expected Maturity</a:t>
                      </a: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mn-lt"/>
                          <a:ea typeface="Times New Roman" panose="02020603050405020304" pitchFamily="18" charset="0"/>
                        </a:rPr>
                        <a:t>Actual Maturity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ase"/>
                      <a:r>
                        <a:rPr lang="en-GB" sz="1000">
                          <a:solidFill>
                            <a:schemeClr val="bg1"/>
                          </a:solidFill>
                          <a:effectLst/>
                          <a:latin typeface="+mn-lt"/>
                          <a:ea typeface="Times New Roman" panose="02020603050405020304" pitchFamily="18" charset="0"/>
                        </a:rPr>
                        <a:t>Dimension Rating</a:t>
                      </a: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7090765"/>
                  </a:ext>
                </a:extLst>
              </a:tr>
              <a:tr h="291828">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endParaRPr lang="en-GB" sz="1000">
                        <a:solidFill>
                          <a:schemeClr val="bg1"/>
                        </a:solidFill>
                        <a:effectLst/>
                        <a:latin typeface="+mn-lt"/>
                        <a:ea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319208"/>
                  </a:ext>
                </a:extLst>
              </a:tr>
              <a:tr h="291828">
                <a:tc rowSpan="6">
                  <a:txBody>
                    <a:bodyPr/>
                    <a:lstStyle/>
                    <a:p>
                      <a:pPr algn="ctr" fontAlgn="base"/>
                      <a:r>
                        <a:rPr lang="en-GB" sz="1000">
                          <a:effectLst/>
                          <a:latin typeface="Arial" panose="020B0604020202020204" pitchFamily="34" charset="0"/>
                          <a:ea typeface="Times New Roman" panose="02020603050405020304" pitchFamily="18" charset="0"/>
                        </a:rPr>
                        <a:t>Performance</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Underwriting Profitabil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Advanced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Intermediate</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900">
                          <a:solidFill>
                            <a:schemeClr val="bg1"/>
                          </a:solidFill>
                          <a:effectLst/>
                          <a:latin typeface="+mn-lt"/>
                          <a:ea typeface="Times New Roman" panose="02020603050405020304" pitchFamily="18" charset="0"/>
                        </a:rPr>
                        <a:t>Below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2229691"/>
                  </a:ext>
                </a:extLst>
              </a:tr>
              <a:tr h="291828">
                <a:tc vMerge="1">
                  <a:txBody>
                    <a:bodyPr/>
                    <a:lstStyle/>
                    <a:p>
                      <a:endParaRPr lang="en-GB"/>
                    </a:p>
                  </a:txBody>
                  <a:tcPr>
                    <a:lnT w="12700" cap="flat" cmpd="sng" algn="ctr">
                      <a:solidFill>
                        <a:srgbClr val="000000"/>
                      </a:solidFill>
                      <a:prstDash val="solid"/>
                      <a:round/>
                      <a:headEnd type="none" w="med" len="med"/>
                      <a:tailEnd type="none" w="med" len="med"/>
                    </a:lnT>
                  </a:tcPr>
                </a:tc>
                <a:tc>
                  <a:txBody>
                    <a:bodyPr/>
                    <a:lstStyle/>
                    <a:p>
                      <a:pPr fontAlgn="base"/>
                      <a:r>
                        <a:rPr lang="en-GB" sz="1000">
                          <a:effectLst/>
                          <a:latin typeface="Arial" panose="020B0604020202020204" pitchFamily="34" charset="0"/>
                          <a:ea typeface="Times New Roman" panose="02020603050405020304" pitchFamily="18" charset="0"/>
                        </a:rPr>
                        <a:t>Catastrophe Exposure </a:t>
                      </a:r>
                      <a:endParaRPr lang="en-GB" sz="1200">
                        <a:effectLst/>
                        <a:latin typeface="Times New Roman" panose="02020603050405020304" pitchFamily="18" charset="0"/>
                        <a:ea typeface="Times New Roman" panose="02020603050405020304" pitchFamily="18" charset="0"/>
                      </a:endParaRPr>
                    </a:p>
                  </a:txBody>
                  <a:tcPr marL="0" marR="0" marT="0" marB="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9703118"/>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utwards Reinsura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Foundational</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9817805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laims Management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Intermediate</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900">
                          <a:solidFill>
                            <a:schemeClr val="bg1"/>
                          </a:solidFill>
                          <a:effectLst/>
                          <a:latin typeface="+mn-lt"/>
                          <a:ea typeface="Times New Roman" panose="02020603050405020304" pitchFamily="18" charset="0"/>
                        </a:rPr>
                        <a:t>Marginally below expectations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21891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stomer Outcome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arginally below expectations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8399208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serv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Advanced</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Advanced</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82563311"/>
                  </a:ext>
                </a:extLst>
              </a:tr>
              <a:tr h="291828">
                <a:tc rowSpan="3">
                  <a:txBody>
                    <a:bodyPr/>
                    <a:lstStyle/>
                    <a:p>
                      <a:pPr algn="ctr" fontAlgn="base"/>
                      <a:r>
                        <a:rPr lang="en-GB" sz="1000">
                          <a:effectLst/>
                          <a:latin typeface="Arial" panose="020B0604020202020204" pitchFamily="34" charset="0"/>
                          <a:ea typeface="Times New Roman" panose="02020603050405020304" pitchFamily="18" charset="0"/>
                        </a:rPr>
                        <a:t>Solvency</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Capital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Below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7762643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Investment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100" kern="1200">
                        <a:solidFill>
                          <a:schemeClr val="bg1"/>
                        </a:solidFill>
                        <a:effectLst/>
                        <a:latin typeface="Arial" panose="020B0604020202020204" pitchFamily="34" charset="0"/>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4811646"/>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Liquid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577780"/>
                  </a:ext>
                </a:extLst>
              </a:tr>
              <a:tr h="291158">
                <a:tc rowSpan="4">
                  <a:txBody>
                    <a:bodyPr/>
                    <a:lstStyle/>
                    <a:p>
                      <a:pPr algn="ctr" fontAlgn="base"/>
                      <a:r>
                        <a:rPr lang="en-GB" sz="1000">
                          <a:effectLst/>
                          <a:latin typeface="Arial" panose="020B0604020202020204" pitchFamily="34" charset="0"/>
                          <a:ea typeface="Times New Roman" panose="02020603050405020304" pitchFamily="18" charset="0"/>
                        </a:rPr>
                        <a:t>Operational</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Governance, Risk Management and Report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Below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2664068"/>
                  </a:ext>
                </a:extLst>
              </a:tr>
              <a:tr h="30554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gulatory and Financial Crim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25822749"/>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perational Resilie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47938100"/>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lt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bg1"/>
                          </a:solidFill>
                          <a:effectLst/>
                          <a:latin typeface="+mn-lt"/>
                          <a:ea typeface="Times New Roman" panose="02020603050405020304" pitchFamily="18" charset="0"/>
                        </a:rPr>
                        <a:t>Meets expectation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58443190"/>
                  </a:ext>
                </a:extLst>
              </a:tr>
            </a:tbl>
          </a:graphicData>
        </a:graphic>
      </p:graphicFrame>
      <p:sp>
        <p:nvSpPr>
          <p:cNvPr id="5" name="Text Placeholder 4">
            <a:extLst>
              <a:ext uri="{FF2B5EF4-FFF2-40B4-BE49-F238E27FC236}">
                <a16:creationId xmlns:a16="http://schemas.microsoft.com/office/drawing/2014/main" id="{E47B7A74-4E94-42A2-BFF2-7170532D7273}"/>
              </a:ext>
            </a:extLst>
          </p:cNvPr>
          <p:cNvSpPr>
            <a:spLocks noGrp="1"/>
          </p:cNvSpPr>
          <p:nvPr>
            <p:ph type="body" sz="quarter" idx="17"/>
          </p:nvPr>
        </p:nvSpPr>
        <p:spPr>
          <a:xfrm>
            <a:off x="533400" y="1100138"/>
            <a:ext cx="11160125" cy="846386"/>
          </a:xfrm>
        </p:spPr>
        <p:txBody>
          <a:bodyPr/>
          <a:lstStyle/>
          <a:p>
            <a:r>
              <a:rPr lang="en-GB">
                <a:solidFill>
                  <a:schemeClr val="accent3"/>
                </a:solidFill>
              </a:rPr>
              <a:t>Syndicate categorisation </a:t>
            </a:r>
          </a:p>
          <a:p>
            <a:endParaRPr lang="en-GB"/>
          </a:p>
        </p:txBody>
      </p:sp>
    </p:spTree>
    <p:extLst>
      <p:ext uri="{BB962C8B-B14F-4D97-AF65-F5344CB8AC3E}">
        <p14:creationId xmlns:p14="http://schemas.microsoft.com/office/powerpoint/2010/main" val="36114746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7F158-C689-4706-BC6F-F9C894F24214}"/>
              </a:ext>
            </a:extLst>
          </p:cNvPr>
          <p:cNvSpPr>
            <a:spLocks noGrp="1"/>
          </p:cNvSpPr>
          <p:nvPr>
            <p:ph type="title"/>
          </p:nvPr>
        </p:nvSpPr>
        <p:spPr/>
        <p:txBody>
          <a:bodyPr/>
          <a:lstStyle/>
          <a:p>
            <a:r>
              <a:rPr lang="en-GB"/>
              <a:t>Oversight Framework </a:t>
            </a:r>
          </a:p>
        </p:txBody>
      </p:sp>
      <p:graphicFrame>
        <p:nvGraphicFramePr>
          <p:cNvPr id="6" name="Table 5">
            <a:extLst>
              <a:ext uri="{FF2B5EF4-FFF2-40B4-BE49-F238E27FC236}">
                <a16:creationId xmlns:a16="http://schemas.microsoft.com/office/drawing/2014/main" id="{699D4CD4-C372-4A77-A70D-49A5BFBDC501}"/>
              </a:ext>
            </a:extLst>
          </p:cNvPr>
          <p:cNvGraphicFramePr>
            <a:graphicFrameLocks noGrp="1"/>
          </p:cNvGraphicFramePr>
          <p:nvPr/>
        </p:nvGraphicFramePr>
        <p:xfrm>
          <a:off x="533399" y="1661043"/>
          <a:ext cx="8917679" cy="4404112"/>
        </p:xfrm>
        <a:graphic>
          <a:graphicData uri="http://schemas.openxmlformats.org/drawingml/2006/table">
            <a:tbl>
              <a:tblPr firstRow="1" firstCol="1" bandRow="1"/>
              <a:tblGrid>
                <a:gridCol w="1005557">
                  <a:extLst>
                    <a:ext uri="{9D8B030D-6E8A-4147-A177-3AD203B41FA5}">
                      <a16:colId xmlns:a16="http://schemas.microsoft.com/office/drawing/2014/main" val="3746951201"/>
                    </a:ext>
                  </a:extLst>
                </a:gridCol>
                <a:gridCol w="2255381">
                  <a:extLst>
                    <a:ext uri="{9D8B030D-6E8A-4147-A177-3AD203B41FA5}">
                      <a16:colId xmlns:a16="http://schemas.microsoft.com/office/drawing/2014/main" val="3966950723"/>
                    </a:ext>
                  </a:extLst>
                </a:gridCol>
                <a:gridCol w="1341535">
                  <a:extLst>
                    <a:ext uri="{9D8B030D-6E8A-4147-A177-3AD203B41FA5}">
                      <a16:colId xmlns:a16="http://schemas.microsoft.com/office/drawing/2014/main" val="1500257441"/>
                    </a:ext>
                  </a:extLst>
                </a:gridCol>
                <a:gridCol w="1401202">
                  <a:extLst>
                    <a:ext uri="{9D8B030D-6E8A-4147-A177-3AD203B41FA5}">
                      <a16:colId xmlns:a16="http://schemas.microsoft.com/office/drawing/2014/main" val="533503734"/>
                    </a:ext>
                  </a:extLst>
                </a:gridCol>
                <a:gridCol w="1563988">
                  <a:extLst>
                    <a:ext uri="{9D8B030D-6E8A-4147-A177-3AD203B41FA5}">
                      <a16:colId xmlns:a16="http://schemas.microsoft.com/office/drawing/2014/main" val="4161276954"/>
                    </a:ext>
                  </a:extLst>
                </a:gridCol>
                <a:gridCol w="378016">
                  <a:extLst>
                    <a:ext uri="{9D8B030D-6E8A-4147-A177-3AD203B41FA5}">
                      <a16:colId xmlns:a16="http://schemas.microsoft.com/office/drawing/2014/main" val="1375979326"/>
                    </a:ext>
                  </a:extLst>
                </a:gridCol>
                <a:gridCol w="972000">
                  <a:extLst>
                    <a:ext uri="{9D8B030D-6E8A-4147-A177-3AD203B41FA5}">
                      <a16:colId xmlns:a16="http://schemas.microsoft.com/office/drawing/2014/main" val="1784854096"/>
                    </a:ext>
                  </a:extLst>
                </a:gridCol>
              </a:tblGrid>
              <a:tr h="291828">
                <a:tc gridSpan="2">
                  <a:txBody>
                    <a:bodyPr/>
                    <a:lstStyle/>
                    <a:p>
                      <a:pPr algn="ctr" fontAlgn="base"/>
                      <a:r>
                        <a:rPr lang="en-GB" sz="1000">
                          <a:effectLst/>
                          <a:latin typeface="Arial" panose="020B0604020202020204" pitchFamily="34" charset="0"/>
                          <a:ea typeface="Times New Roman" panose="02020603050405020304" pitchFamily="18" charset="0"/>
                        </a:rPr>
                        <a:t>Oversight Dimensions</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GB"/>
                    </a:p>
                  </a:txBody>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Arial" panose="020B0604020202020204" pitchFamily="34" charset="0"/>
                          <a:ea typeface="Times New Roman" panose="02020603050405020304" pitchFamily="18" charset="0"/>
                        </a:rPr>
                        <a:t>Expected Maturity</a:t>
                      </a: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mn-lt"/>
                          <a:ea typeface="Times New Roman" panose="02020603050405020304" pitchFamily="18" charset="0"/>
                        </a:rPr>
                        <a:t>Actual Maturity </a:t>
                      </a:r>
                    </a:p>
                  </a:txBody>
                  <a:tcPr marL="0" marR="0" marT="0" marB="0" anchor="ctr">
                    <a:lnL w="1270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base"/>
                      <a:r>
                        <a:rPr lang="en-GB" sz="1000">
                          <a:effectLst/>
                          <a:latin typeface="+mn-lt"/>
                          <a:ea typeface="Times New Roman" panose="02020603050405020304" pitchFamily="18" charset="0"/>
                        </a:rPr>
                        <a:t>Dimension Rating</a:t>
                      </a:r>
                    </a:p>
                  </a:txBody>
                  <a:tcPr marL="0" marR="0" marT="0"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rowSpan="15">
                  <a:txBody>
                    <a:bodyPr/>
                    <a:lstStyle/>
                    <a:p>
                      <a:pPr algn="ctr" fontAlgn="base"/>
                      <a:endParaRPr lang="en-GB" sz="1000">
                        <a:effectLst/>
                        <a:latin typeface="+mn-lt"/>
                        <a:ea typeface="Times New Roman" panose="02020603050405020304" pitchFamily="18" charset="0"/>
                      </a:endParaRPr>
                    </a:p>
                  </a:txBody>
                  <a:tcPr marL="0" marR="0" marT="0" marB="0" anchor="ctr">
                    <a:lnL w="9525"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base"/>
                      <a:r>
                        <a:rPr lang="en-GB" sz="1000">
                          <a:solidFill>
                            <a:schemeClr val="bg1"/>
                          </a:solidFill>
                          <a:effectLst/>
                          <a:latin typeface="+mn-lt"/>
                          <a:ea typeface="Times New Roman" panose="02020603050405020304" pitchFamily="18" charset="0"/>
                        </a:rPr>
                        <a:t>Syndicate Category</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17090765"/>
                  </a:ext>
                </a:extLst>
              </a:tr>
              <a:tr h="291828">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fontAlgn="base"/>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vMerge="1">
                  <a:txBody>
                    <a:bodyPr/>
                    <a:lstStyle/>
                    <a:p>
                      <a:endParaRPr lang="en-GB"/>
                    </a:p>
                  </a:txBody>
                  <a:tcPr>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30319208"/>
                  </a:ext>
                </a:extLst>
              </a:tr>
              <a:tr h="291828">
                <a:tc rowSpan="6">
                  <a:txBody>
                    <a:bodyPr/>
                    <a:lstStyle/>
                    <a:p>
                      <a:pPr algn="ctr" fontAlgn="base"/>
                      <a:r>
                        <a:rPr lang="en-GB" sz="1000">
                          <a:effectLst/>
                          <a:latin typeface="Arial" panose="020B0604020202020204" pitchFamily="34" charset="0"/>
                          <a:ea typeface="Times New Roman" panose="02020603050405020304" pitchFamily="18" charset="0"/>
                        </a:rPr>
                        <a:t>Performance</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Underwriting Profitabil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Advanced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Intermediate</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noFill/>
                  </a:tcPr>
                </a:tc>
                <a:tc rowSpan="13">
                  <a:txBody>
                    <a:bodyPr/>
                    <a:lstStyle/>
                    <a:p>
                      <a:pPr algn="ctr"/>
                      <a:r>
                        <a:rPr lang="en-GB" sz="1400">
                          <a:solidFill>
                            <a:schemeClr val="bg1"/>
                          </a:solidFill>
                        </a:rPr>
                        <a:t>UNDERPERFORMING</a:t>
                      </a:r>
                    </a:p>
                  </a:txBody>
                  <a:tcPr marL="0" marR="0" marT="0" marB="0"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2229691"/>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atastrophe Expos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119703118"/>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utwards Reinsura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Foundational</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49817805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laims Management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Intermediate</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900">
                          <a:solidFill>
                            <a:schemeClr val="tx1"/>
                          </a:solidFill>
                          <a:effectLst/>
                          <a:latin typeface="+mn-lt"/>
                          <a:ea typeface="Times New Roman" panose="02020603050405020304" pitchFamily="18" charset="0"/>
                        </a:rPr>
                        <a:t>Marginally below expectations </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endParaRPr lang="en-GB"/>
                    </a:p>
                  </a:txBody>
                  <a:tcPr/>
                </a:tc>
                <a:extLst>
                  <a:ext uri="{0D108BD9-81ED-4DB2-BD59-A6C34878D82A}">
                    <a16:rowId xmlns:a16="http://schemas.microsoft.com/office/drawing/2014/main" val="1921891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stomer Outcome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arginally below expectations </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endParaRPr lang="en-GB"/>
                    </a:p>
                  </a:txBody>
                  <a:tcPr/>
                </a:tc>
                <a:extLst>
                  <a:ext uri="{0D108BD9-81ED-4DB2-BD59-A6C34878D82A}">
                    <a16:rowId xmlns:a16="http://schemas.microsoft.com/office/drawing/2014/main" val="348399208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serv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Advanced</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Advanc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3982563311"/>
                  </a:ext>
                </a:extLst>
              </a:tr>
              <a:tr h="291828">
                <a:tc rowSpan="3">
                  <a:txBody>
                    <a:bodyPr/>
                    <a:lstStyle/>
                    <a:p>
                      <a:pPr algn="ctr" fontAlgn="base"/>
                      <a:r>
                        <a:rPr lang="en-GB" sz="1000">
                          <a:effectLst/>
                          <a:latin typeface="Arial" panose="020B0604020202020204" pitchFamily="34" charset="0"/>
                          <a:ea typeface="Times New Roman" panose="02020603050405020304" pitchFamily="18" charset="0"/>
                        </a:rPr>
                        <a:t>Solvency</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Capital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67762643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Investment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100" kern="1200">
                        <a:solidFill>
                          <a:schemeClr val="bg1"/>
                        </a:solidFill>
                        <a:effectLst/>
                        <a:latin typeface="Arial" panose="020B0604020202020204" pitchFamily="34" charset="0"/>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574811646"/>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Liquid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78577780"/>
                  </a:ext>
                </a:extLst>
              </a:tr>
              <a:tr h="291158">
                <a:tc rowSpan="4">
                  <a:txBody>
                    <a:bodyPr/>
                    <a:lstStyle/>
                    <a:p>
                      <a:pPr algn="ctr" fontAlgn="base"/>
                      <a:r>
                        <a:rPr lang="en-GB" sz="1000">
                          <a:effectLst/>
                          <a:latin typeface="Arial" panose="020B0604020202020204" pitchFamily="34" charset="0"/>
                          <a:ea typeface="Times New Roman" panose="02020603050405020304" pitchFamily="18" charset="0"/>
                        </a:rPr>
                        <a:t>Operational</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Governance, Risk Management and Report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endParaRPr lang="en-GB"/>
                    </a:p>
                  </a:txBody>
                  <a:tcPr/>
                </a:tc>
                <a:extLst>
                  <a:ext uri="{0D108BD9-81ED-4DB2-BD59-A6C34878D82A}">
                    <a16:rowId xmlns:a16="http://schemas.microsoft.com/office/drawing/2014/main" val="3772664068"/>
                  </a:ext>
                </a:extLst>
              </a:tr>
              <a:tr h="30554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gulatory and Financial Crim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325822749"/>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perational Resilie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447938100"/>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lt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558443190"/>
                  </a:ext>
                </a:extLst>
              </a:tr>
            </a:tbl>
          </a:graphicData>
        </a:graphic>
      </p:graphicFrame>
      <p:sp>
        <p:nvSpPr>
          <p:cNvPr id="5" name="Text Placeholder 4">
            <a:extLst>
              <a:ext uri="{FF2B5EF4-FFF2-40B4-BE49-F238E27FC236}">
                <a16:creationId xmlns:a16="http://schemas.microsoft.com/office/drawing/2014/main" id="{E47B7A74-4E94-42A2-BFF2-7170532D7273}"/>
              </a:ext>
            </a:extLst>
          </p:cNvPr>
          <p:cNvSpPr>
            <a:spLocks noGrp="1"/>
          </p:cNvSpPr>
          <p:nvPr>
            <p:ph type="body" sz="quarter" idx="17"/>
          </p:nvPr>
        </p:nvSpPr>
        <p:spPr>
          <a:xfrm>
            <a:off x="533400" y="1100138"/>
            <a:ext cx="11160125" cy="846386"/>
          </a:xfrm>
        </p:spPr>
        <p:txBody>
          <a:bodyPr/>
          <a:lstStyle/>
          <a:p>
            <a:r>
              <a:rPr lang="en-GB">
                <a:solidFill>
                  <a:schemeClr val="accent3"/>
                </a:solidFill>
              </a:rPr>
              <a:t>Syndicate categorisation </a:t>
            </a:r>
          </a:p>
          <a:p>
            <a:endParaRPr lang="en-GB"/>
          </a:p>
        </p:txBody>
      </p:sp>
      <p:graphicFrame>
        <p:nvGraphicFramePr>
          <p:cNvPr id="15" name="Table 14">
            <a:extLst>
              <a:ext uri="{FF2B5EF4-FFF2-40B4-BE49-F238E27FC236}">
                <a16:creationId xmlns:a16="http://schemas.microsoft.com/office/drawing/2014/main" id="{3DDED9F5-AAEF-4207-ADF5-6CCFEEC3E010}"/>
              </a:ext>
            </a:extLst>
          </p:cNvPr>
          <p:cNvGraphicFramePr>
            <a:graphicFrameLocks noGrp="1"/>
          </p:cNvGraphicFramePr>
          <p:nvPr/>
        </p:nvGraphicFramePr>
        <p:xfrm>
          <a:off x="5117492" y="219932"/>
          <a:ext cx="2565400" cy="1201039"/>
        </p:xfrm>
        <a:graphic>
          <a:graphicData uri="http://schemas.openxmlformats.org/drawingml/2006/table">
            <a:tbl>
              <a:tblPr firstRow="1" bandRow="1"/>
              <a:tblGrid>
                <a:gridCol w="2565400">
                  <a:extLst>
                    <a:ext uri="{9D8B030D-6E8A-4147-A177-3AD203B41FA5}">
                      <a16:colId xmlns:a16="http://schemas.microsoft.com/office/drawing/2014/main" val="331557797"/>
                    </a:ext>
                  </a:extLst>
                </a:gridCol>
              </a:tblGrid>
              <a:tr h="180213">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l" rtl="0" eaLnBrk="1" latinLnBrk="0" hangingPunct="1">
                        <a:spcBef>
                          <a:spcPts val="0"/>
                        </a:spcBef>
                        <a:spcAft>
                          <a:spcPts val="0"/>
                        </a:spcAft>
                      </a:pPr>
                      <a:r>
                        <a:rPr lang="en-GB" sz="1200" kern="1200">
                          <a:effectLst/>
                        </a:rPr>
                        <a:t>Dimension Rating</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2472550"/>
                  </a:ext>
                </a:extLst>
              </a:tr>
              <a:tr h="2052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effectLst/>
                        </a:rPr>
                        <a:t> Meets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3934940"/>
                  </a:ext>
                </a:extLst>
              </a:tr>
              <a:tr h="28054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effectLst/>
                        </a:rPr>
                        <a:t> Marginally below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887715996"/>
                  </a:ext>
                </a:extLst>
              </a:tr>
              <a:tr h="25336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rtl="0" eaLnBrk="1" fontAlgn="auto" latinLnBrk="0" hangingPunct="1">
                        <a:spcBef>
                          <a:spcPts val="0"/>
                        </a:spcBef>
                        <a:spcAft>
                          <a:spcPts val="0"/>
                        </a:spcAft>
                      </a:pPr>
                      <a:r>
                        <a:rPr lang="en-GB" sz="1200" kern="1200">
                          <a:effectLst/>
                        </a:rPr>
                        <a:t> Below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E60000"/>
                    </a:solidFill>
                  </a:tcPr>
                </a:tc>
                <a:extLst>
                  <a:ext uri="{0D108BD9-81ED-4DB2-BD59-A6C34878D82A}">
                    <a16:rowId xmlns:a16="http://schemas.microsoft.com/office/drawing/2014/main" val="1925149711"/>
                  </a:ext>
                </a:extLst>
              </a:tr>
              <a:tr h="27901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solidFill>
                            <a:schemeClr val="bg1"/>
                          </a:solidFill>
                          <a:effectLst/>
                        </a:rPr>
                        <a:t> Well below expectation</a:t>
                      </a:r>
                      <a:endParaRPr lang="en-GB">
                        <a:solidFill>
                          <a:schemeClr val="bg1"/>
                        </a:solidFill>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717C7C"/>
                    </a:solidFill>
                  </a:tcPr>
                </a:tc>
                <a:extLst>
                  <a:ext uri="{0D108BD9-81ED-4DB2-BD59-A6C34878D82A}">
                    <a16:rowId xmlns:a16="http://schemas.microsoft.com/office/drawing/2014/main" val="2394026978"/>
                  </a:ext>
                </a:extLst>
              </a:tr>
            </a:tbl>
          </a:graphicData>
        </a:graphic>
      </p:graphicFrame>
    </p:spTree>
    <p:extLst>
      <p:ext uri="{BB962C8B-B14F-4D97-AF65-F5344CB8AC3E}">
        <p14:creationId xmlns:p14="http://schemas.microsoft.com/office/powerpoint/2010/main" val="2707033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7F158-C689-4706-BC6F-F9C894F24214}"/>
              </a:ext>
            </a:extLst>
          </p:cNvPr>
          <p:cNvSpPr>
            <a:spLocks noGrp="1"/>
          </p:cNvSpPr>
          <p:nvPr>
            <p:ph type="title"/>
          </p:nvPr>
        </p:nvSpPr>
        <p:spPr/>
        <p:txBody>
          <a:bodyPr/>
          <a:lstStyle/>
          <a:p>
            <a:r>
              <a:rPr lang="en-GB"/>
              <a:t>Oversight Framework </a:t>
            </a:r>
          </a:p>
        </p:txBody>
      </p:sp>
      <p:graphicFrame>
        <p:nvGraphicFramePr>
          <p:cNvPr id="6" name="Table 5">
            <a:extLst>
              <a:ext uri="{FF2B5EF4-FFF2-40B4-BE49-F238E27FC236}">
                <a16:creationId xmlns:a16="http://schemas.microsoft.com/office/drawing/2014/main" id="{699D4CD4-C372-4A77-A70D-49A5BFBDC501}"/>
              </a:ext>
            </a:extLst>
          </p:cNvPr>
          <p:cNvGraphicFramePr>
            <a:graphicFrameLocks noGrp="1"/>
          </p:cNvGraphicFramePr>
          <p:nvPr/>
        </p:nvGraphicFramePr>
        <p:xfrm>
          <a:off x="533399" y="1661043"/>
          <a:ext cx="8917679" cy="4404112"/>
        </p:xfrm>
        <a:graphic>
          <a:graphicData uri="http://schemas.openxmlformats.org/drawingml/2006/table">
            <a:tbl>
              <a:tblPr firstRow="1" firstCol="1" bandRow="1"/>
              <a:tblGrid>
                <a:gridCol w="1005557">
                  <a:extLst>
                    <a:ext uri="{9D8B030D-6E8A-4147-A177-3AD203B41FA5}">
                      <a16:colId xmlns:a16="http://schemas.microsoft.com/office/drawing/2014/main" val="3746951201"/>
                    </a:ext>
                  </a:extLst>
                </a:gridCol>
                <a:gridCol w="2255381">
                  <a:extLst>
                    <a:ext uri="{9D8B030D-6E8A-4147-A177-3AD203B41FA5}">
                      <a16:colId xmlns:a16="http://schemas.microsoft.com/office/drawing/2014/main" val="3966950723"/>
                    </a:ext>
                  </a:extLst>
                </a:gridCol>
                <a:gridCol w="1341535">
                  <a:extLst>
                    <a:ext uri="{9D8B030D-6E8A-4147-A177-3AD203B41FA5}">
                      <a16:colId xmlns:a16="http://schemas.microsoft.com/office/drawing/2014/main" val="1500257441"/>
                    </a:ext>
                  </a:extLst>
                </a:gridCol>
                <a:gridCol w="1401202">
                  <a:extLst>
                    <a:ext uri="{9D8B030D-6E8A-4147-A177-3AD203B41FA5}">
                      <a16:colId xmlns:a16="http://schemas.microsoft.com/office/drawing/2014/main" val="533503734"/>
                    </a:ext>
                  </a:extLst>
                </a:gridCol>
                <a:gridCol w="1563988">
                  <a:extLst>
                    <a:ext uri="{9D8B030D-6E8A-4147-A177-3AD203B41FA5}">
                      <a16:colId xmlns:a16="http://schemas.microsoft.com/office/drawing/2014/main" val="4161276954"/>
                    </a:ext>
                  </a:extLst>
                </a:gridCol>
                <a:gridCol w="378016">
                  <a:extLst>
                    <a:ext uri="{9D8B030D-6E8A-4147-A177-3AD203B41FA5}">
                      <a16:colId xmlns:a16="http://schemas.microsoft.com/office/drawing/2014/main" val="1375979326"/>
                    </a:ext>
                  </a:extLst>
                </a:gridCol>
                <a:gridCol w="972000">
                  <a:extLst>
                    <a:ext uri="{9D8B030D-6E8A-4147-A177-3AD203B41FA5}">
                      <a16:colId xmlns:a16="http://schemas.microsoft.com/office/drawing/2014/main" val="1784854096"/>
                    </a:ext>
                  </a:extLst>
                </a:gridCol>
              </a:tblGrid>
              <a:tr h="291828">
                <a:tc gridSpan="2">
                  <a:txBody>
                    <a:bodyPr/>
                    <a:lstStyle/>
                    <a:p>
                      <a:pPr algn="ctr" fontAlgn="base"/>
                      <a:r>
                        <a:rPr lang="en-GB" sz="1000">
                          <a:effectLst/>
                          <a:latin typeface="Arial" panose="020B0604020202020204" pitchFamily="34" charset="0"/>
                          <a:ea typeface="Times New Roman" panose="02020603050405020304" pitchFamily="18" charset="0"/>
                        </a:rPr>
                        <a:t>Oversight Dimensions</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hMerge="1">
                  <a:txBody>
                    <a:bodyPr/>
                    <a:lstStyle/>
                    <a:p>
                      <a:endParaRPr lang="en-GB"/>
                    </a:p>
                  </a:txBody>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Arial" panose="020B0604020202020204" pitchFamily="34" charset="0"/>
                          <a:ea typeface="Times New Roman" panose="02020603050405020304" pitchFamily="18" charset="0"/>
                        </a:rPr>
                        <a:t>Expected Maturity</a:t>
                      </a: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1000">
                          <a:effectLst/>
                          <a:latin typeface="+mn-lt"/>
                          <a:ea typeface="Times New Roman" panose="02020603050405020304" pitchFamily="18" charset="0"/>
                        </a:rPr>
                        <a:t>Actual Maturity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base"/>
                      <a:r>
                        <a:rPr lang="en-GB" sz="1000">
                          <a:effectLst/>
                          <a:latin typeface="+mn-lt"/>
                          <a:ea typeface="Times New Roman" panose="02020603050405020304" pitchFamily="18" charset="0"/>
                        </a:rPr>
                        <a:t>Dimension Rating</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15">
                  <a:txBody>
                    <a:bodyPr/>
                    <a:lstStyle/>
                    <a:p>
                      <a:pPr algn="ctr" fontAlgn="base"/>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fontAlgn="base"/>
                      <a:r>
                        <a:rPr lang="en-GB" sz="1000">
                          <a:effectLst/>
                          <a:latin typeface="+mn-lt"/>
                          <a:ea typeface="Times New Roman" panose="02020603050405020304" pitchFamily="18" charset="0"/>
                        </a:rPr>
                        <a:t>Syndicate Categor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17090765"/>
                  </a:ext>
                </a:extLst>
              </a:tr>
              <a:tr h="291828">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 </a:t>
                      </a:r>
                      <a:endParaRPr lang="en-GB" sz="1200">
                        <a:effectLst/>
                        <a:latin typeface="Times New Roman" panose="02020603050405020304" pitchFamily="18" charset="0"/>
                        <a:ea typeface="Times New Roman" panose="02020603050405020304" pitchFamily="18" charset="0"/>
                      </a:endParaRPr>
                    </a:p>
                  </a:txBody>
                  <a:tcPr marL="0" marR="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pPr algn="ctr" fontAlgn="base"/>
                      <a:endParaRPr lang="en-GB" sz="10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30319208"/>
                  </a:ext>
                </a:extLst>
              </a:tr>
              <a:tr h="291828">
                <a:tc rowSpan="6">
                  <a:txBody>
                    <a:bodyPr/>
                    <a:lstStyle/>
                    <a:p>
                      <a:pPr algn="ctr" fontAlgn="base"/>
                      <a:r>
                        <a:rPr lang="en-GB" sz="1000">
                          <a:effectLst/>
                          <a:latin typeface="Arial" panose="020B0604020202020204" pitchFamily="34" charset="0"/>
                          <a:ea typeface="Times New Roman" panose="02020603050405020304" pitchFamily="18" charset="0"/>
                        </a:rPr>
                        <a:t>Performance</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Underwriting Profitabil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Advanced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Intermediate</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13">
                  <a:txBody>
                    <a:bodyPr/>
                    <a:lstStyle/>
                    <a:p>
                      <a:pPr algn="ctr"/>
                      <a:r>
                        <a:rPr lang="en-GB" sz="1400">
                          <a:solidFill>
                            <a:schemeClr val="bg1"/>
                          </a:solidFill>
                        </a:rPr>
                        <a:t>UNDERPERFORMING</a:t>
                      </a:r>
                    </a:p>
                  </a:txBody>
                  <a:tcPr marL="0" marR="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extLst>
                  <a:ext uri="{0D108BD9-81ED-4DB2-BD59-A6C34878D82A}">
                    <a16:rowId xmlns:a16="http://schemas.microsoft.com/office/drawing/2014/main" val="2482229691"/>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atastrophe Expos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119703118"/>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utwards Reinsura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Foundational</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49817805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laims Management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Intermediate</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900">
                          <a:solidFill>
                            <a:schemeClr val="tx1"/>
                          </a:solidFill>
                          <a:effectLst/>
                          <a:latin typeface="+mn-lt"/>
                          <a:ea typeface="Times New Roman" panose="02020603050405020304" pitchFamily="18" charset="0"/>
                        </a:rPr>
                        <a:t>Marginally below expectations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pPr algn="ctr" fontAlgn="base"/>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endParaRPr lang="en-GB"/>
                    </a:p>
                  </a:txBody>
                  <a:tcPr/>
                </a:tc>
                <a:extLst>
                  <a:ext uri="{0D108BD9-81ED-4DB2-BD59-A6C34878D82A}">
                    <a16:rowId xmlns:a16="http://schemas.microsoft.com/office/drawing/2014/main" val="19218913"/>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stomer Outcome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arginally below expectations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vMerge="1">
                  <a:txBody>
                    <a:bodyPr/>
                    <a:lstStyle/>
                    <a:p>
                      <a:endParaRPr lang="en-GB"/>
                    </a:p>
                  </a:txBody>
                  <a:tcPr/>
                </a:tc>
                <a:extLst>
                  <a:ext uri="{0D108BD9-81ED-4DB2-BD59-A6C34878D82A}">
                    <a16:rowId xmlns:a16="http://schemas.microsoft.com/office/drawing/2014/main" val="348399208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serv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chemeClr val="bg1"/>
                          </a:solidFill>
                          <a:effectLst/>
                          <a:latin typeface="Arial" panose="020B0604020202020204" pitchFamily="34" charset="0"/>
                          <a:ea typeface="Times New Roman" panose="02020603050405020304" pitchFamily="18" charset="0"/>
                        </a:rPr>
                        <a:t>Advanced</a:t>
                      </a:r>
                      <a:endParaRPr lang="en-GB" sz="1200">
                        <a:solidFill>
                          <a:schemeClr val="bg1"/>
                        </a:solidFill>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algn="ctr" fontAlgn="base"/>
                      <a:r>
                        <a:rPr lang="en-GB" sz="1100">
                          <a:solidFill>
                            <a:schemeClr val="bg1"/>
                          </a:solidFill>
                          <a:effectLst/>
                          <a:latin typeface="+mn-lt"/>
                          <a:ea typeface="Times New Roman" panose="02020603050405020304" pitchFamily="18" charset="0"/>
                        </a:rPr>
                        <a:t>Advanc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3982563311"/>
                  </a:ext>
                </a:extLst>
              </a:tr>
              <a:tr h="291828">
                <a:tc rowSpan="3">
                  <a:txBody>
                    <a:bodyPr/>
                    <a:lstStyle/>
                    <a:p>
                      <a:pPr algn="ctr" fontAlgn="base"/>
                      <a:r>
                        <a:rPr lang="en-GB" sz="1000">
                          <a:effectLst/>
                          <a:latin typeface="Arial" panose="020B0604020202020204" pitchFamily="34" charset="0"/>
                          <a:ea typeface="Times New Roman" panose="02020603050405020304" pitchFamily="18" charset="0"/>
                        </a:rPr>
                        <a:t>Solvency</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Capital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chemeClr val="bg1"/>
                          </a:solidFill>
                          <a:effectLst/>
                          <a:latin typeface="+mn-lt"/>
                          <a:ea typeface="Times New Roman" panose="02020603050405020304" pitchFamily="18" charset="0"/>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677626435"/>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Investments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100" kern="1200">
                        <a:solidFill>
                          <a:schemeClr val="bg1"/>
                        </a:solidFill>
                        <a:effectLst/>
                        <a:latin typeface="Arial" panose="020B0604020202020204" pitchFamily="34" charset="0"/>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a:solidFill>
                            <a:srgbClr val="FFFFFF"/>
                          </a:solidFill>
                          <a:effectLst/>
                          <a:latin typeface="+mn-lt"/>
                          <a:ea typeface="Times New Roman" panose="02020603050405020304" pitchFamily="18" charset="0"/>
                        </a:rPr>
                        <a:t>Established</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574811646"/>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Liquidity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78577780"/>
                  </a:ext>
                </a:extLst>
              </a:tr>
              <a:tr h="291158">
                <a:tc rowSpan="4">
                  <a:txBody>
                    <a:bodyPr/>
                    <a:lstStyle/>
                    <a:p>
                      <a:pPr algn="ctr" fontAlgn="base"/>
                      <a:r>
                        <a:rPr lang="en-GB" sz="1000">
                          <a:effectLst/>
                          <a:latin typeface="Arial" panose="020B0604020202020204" pitchFamily="34" charset="0"/>
                          <a:ea typeface="Times New Roman" panose="02020603050405020304" pitchFamily="18" charset="0"/>
                        </a:rPr>
                        <a:t>Operational</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fontAlgn="base"/>
                      <a:r>
                        <a:rPr lang="en-GB" sz="1000">
                          <a:effectLst/>
                          <a:latin typeface="Arial" panose="020B0604020202020204" pitchFamily="34" charset="0"/>
                          <a:ea typeface="Times New Roman" panose="02020603050405020304" pitchFamily="18" charset="0"/>
                        </a:rPr>
                        <a:t>Governance, Risk Management and Reporting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a:solidFill>
                            <a:srgbClr val="FFFFFF"/>
                          </a:solidFill>
                          <a:effectLst/>
                          <a:latin typeface="Arial" panose="020B0604020202020204" pitchFamily="34" charset="0"/>
                          <a:ea typeface="Times New Roman" panose="02020603050405020304" pitchFamily="18" charset="0"/>
                        </a:rPr>
                        <a:t>Established</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Below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vMerge="1">
                  <a:txBody>
                    <a:bodyPr/>
                    <a:lstStyle/>
                    <a:p>
                      <a:endParaRPr lang="en-GB"/>
                    </a:p>
                  </a:txBody>
                  <a:tcPr/>
                </a:tc>
                <a:extLst>
                  <a:ext uri="{0D108BD9-81ED-4DB2-BD59-A6C34878D82A}">
                    <a16:rowId xmlns:a16="http://schemas.microsoft.com/office/drawing/2014/main" val="3772664068"/>
                  </a:ext>
                </a:extLst>
              </a:tr>
              <a:tr h="30554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Regulatory and Financial Crim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Intermediate</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325822749"/>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Operational Resilienc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1447938100"/>
                  </a:ext>
                </a:extLst>
              </a:tr>
              <a:tr h="291828">
                <a:tc vMerge="1">
                  <a:txBody>
                    <a:bodyPr/>
                    <a:lstStyle/>
                    <a:p>
                      <a:endParaRPr lang="en-GB"/>
                    </a:p>
                  </a:txBody>
                  <a:tcPr/>
                </a:tc>
                <a:tc>
                  <a:txBody>
                    <a:bodyPr/>
                    <a:lstStyle/>
                    <a:p>
                      <a:pPr fontAlgn="base"/>
                      <a:r>
                        <a:rPr lang="en-GB" sz="1000">
                          <a:effectLst/>
                          <a:latin typeface="Arial" panose="020B0604020202020204" pitchFamily="34" charset="0"/>
                          <a:ea typeface="Times New Roman" panose="02020603050405020304" pitchFamily="18" charset="0"/>
                        </a:rPr>
                        <a:t>Culture </a:t>
                      </a:r>
                      <a:endParaRPr lang="en-GB" sz="1200">
                        <a:effectLst/>
                        <a:latin typeface="Times New Roman" panose="02020603050405020304" pitchFamily="18" charset="0"/>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ase"/>
                      <a:r>
                        <a:rPr lang="en-GB" sz="1100" kern="1200">
                          <a:solidFill>
                            <a:schemeClr val="bg1"/>
                          </a:solidFill>
                          <a:effectLst/>
                          <a:latin typeface="Arial" panose="020B0604020202020204" pitchFamily="34" charset="0"/>
                          <a:ea typeface="Times New Roman" panose="02020603050405020304" pitchFamily="18" charset="0"/>
                          <a:cs typeface="+mn-cs"/>
                        </a:rPr>
                        <a:t>Foundational</a:t>
                      </a:r>
                      <a:endParaRPr lang="en-GB" sz="1100" kern="1200">
                        <a:solidFill>
                          <a:schemeClr val="bg1"/>
                        </a:solidFill>
                        <a:effectLst/>
                        <a:latin typeface="+mn-lt"/>
                        <a:ea typeface="Times New Roman" panose="02020603050405020304" pitchFamily="18" charset="0"/>
                        <a:cs typeface="+mn-cs"/>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n-GB" sz="900">
                          <a:solidFill>
                            <a:schemeClr val="tx1"/>
                          </a:solidFill>
                          <a:effectLst/>
                          <a:latin typeface="+mn-lt"/>
                          <a:ea typeface="Times New Roman" panose="02020603050405020304" pitchFamily="18" charset="0"/>
                        </a:rPr>
                        <a:t>Meets expectati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lang="en-GB" sz="900">
                        <a:solidFill>
                          <a:schemeClr val="tx1"/>
                        </a:solidFill>
                        <a:effectLst/>
                        <a:latin typeface="+mn-lt"/>
                        <a:ea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vMerge="1">
                  <a:txBody>
                    <a:bodyPr/>
                    <a:lstStyle/>
                    <a:p>
                      <a:endParaRPr lang="en-GB"/>
                    </a:p>
                  </a:txBody>
                  <a:tcPr/>
                </a:tc>
                <a:extLst>
                  <a:ext uri="{0D108BD9-81ED-4DB2-BD59-A6C34878D82A}">
                    <a16:rowId xmlns:a16="http://schemas.microsoft.com/office/drawing/2014/main" val="2558443190"/>
                  </a:ext>
                </a:extLst>
              </a:tr>
            </a:tbl>
          </a:graphicData>
        </a:graphic>
      </p:graphicFrame>
      <p:sp>
        <p:nvSpPr>
          <p:cNvPr id="5" name="Text Placeholder 4">
            <a:extLst>
              <a:ext uri="{FF2B5EF4-FFF2-40B4-BE49-F238E27FC236}">
                <a16:creationId xmlns:a16="http://schemas.microsoft.com/office/drawing/2014/main" id="{E47B7A74-4E94-42A2-BFF2-7170532D7273}"/>
              </a:ext>
            </a:extLst>
          </p:cNvPr>
          <p:cNvSpPr>
            <a:spLocks noGrp="1"/>
          </p:cNvSpPr>
          <p:nvPr>
            <p:ph type="body" sz="quarter" idx="17"/>
          </p:nvPr>
        </p:nvSpPr>
        <p:spPr>
          <a:xfrm>
            <a:off x="533400" y="1100138"/>
            <a:ext cx="11160125" cy="846386"/>
          </a:xfrm>
        </p:spPr>
        <p:txBody>
          <a:bodyPr/>
          <a:lstStyle/>
          <a:p>
            <a:r>
              <a:rPr lang="en-GB">
                <a:solidFill>
                  <a:schemeClr val="accent3"/>
                </a:solidFill>
              </a:rPr>
              <a:t>Syndicate categorisation </a:t>
            </a:r>
          </a:p>
          <a:p>
            <a:endParaRPr lang="en-GB"/>
          </a:p>
        </p:txBody>
      </p:sp>
      <p:graphicFrame>
        <p:nvGraphicFramePr>
          <p:cNvPr id="8" name="Table 7">
            <a:extLst>
              <a:ext uri="{FF2B5EF4-FFF2-40B4-BE49-F238E27FC236}">
                <a16:creationId xmlns:a16="http://schemas.microsoft.com/office/drawing/2014/main" id="{C1CC710B-6B4B-4EF6-BDBB-687684E099BD}"/>
              </a:ext>
            </a:extLst>
          </p:cNvPr>
          <p:cNvGraphicFramePr>
            <a:graphicFrameLocks noGrp="1"/>
          </p:cNvGraphicFramePr>
          <p:nvPr/>
        </p:nvGraphicFramePr>
        <p:xfrm>
          <a:off x="5117492" y="219932"/>
          <a:ext cx="2565400" cy="1201039"/>
        </p:xfrm>
        <a:graphic>
          <a:graphicData uri="http://schemas.openxmlformats.org/drawingml/2006/table">
            <a:tbl>
              <a:tblPr firstRow="1" bandRow="1"/>
              <a:tblGrid>
                <a:gridCol w="2565400">
                  <a:extLst>
                    <a:ext uri="{9D8B030D-6E8A-4147-A177-3AD203B41FA5}">
                      <a16:colId xmlns:a16="http://schemas.microsoft.com/office/drawing/2014/main" val="331557797"/>
                    </a:ext>
                  </a:extLst>
                </a:gridCol>
              </a:tblGrid>
              <a:tr h="180213">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marL="0" algn="l" rtl="0" eaLnBrk="1" latinLnBrk="0" hangingPunct="1">
                        <a:spcBef>
                          <a:spcPts val="0"/>
                        </a:spcBef>
                        <a:spcAft>
                          <a:spcPts val="0"/>
                        </a:spcAft>
                      </a:pPr>
                      <a:r>
                        <a:rPr lang="en-GB" sz="1200" kern="1200">
                          <a:effectLst/>
                        </a:rPr>
                        <a:t>Dimension Rating</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val="2632472550"/>
                  </a:ext>
                </a:extLst>
              </a:tr>
              <a:tr h="20523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effectLst/>
                        </a:rPr>
                        <a:t> Meets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3934940"/>
                  </a:ext>
                </a:extLst>
              </a:tr>
              <a:tr h="28054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effectLst/>
                        </a:rPr>
                        <a:t> Marginally below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887715996"/>
                  </a:ext>
                </a:extLst>
              </a:tr>
              <a:tr h="25336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rtl="0" eaLnBrk="1" fontAlgn="auto" latinLnBrk="0" hangingPunct="1">
                        <a:spcBef>
                          <a:spcPts val="0"/>
                        </a:spcBef>
                        <a:spcAft>
                          <a:spcPts val="0"/>
                        </a:spcAft>
                      </a:pPr>
                      <a:r>
                        <a:rPr lang="en-GB" sz="1200" kern="1200">
                          <a:effectLst/>
                        </a:rPr>
                        <a:t> Below expectation</a:t>
                      </a:r>
                      <a:endParaRPr lang="en-GB">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E60000"/>
                    </a:solidFill>
                  </a:tcPr>
                </a:tc>
                <a:extLst>
                  <a:ext uri="{0D108BD9-81ED-4DB2-BD59-A6C34878D82A}">
                    <a16:rowId xmlns:a16="http://schemas.microsoft.com/office/drawing/2014/main" val="1925149711"/>
                  </a:ext>
                </a:extLst>
              </a:tr>
              <a:tr h="27901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algn="l" rtl="0" eaLnBrk="1" latinLnBrk="0" hangingPunct="1">
                        <a:spcBef>
                          <a:spcPts val="0"/>
                        </a:spcBef>
                        <a:spcAft>
                          <a:spcPts val="0"/>
                        </a:spcAft>
                      </a:pPr>
                      <a:r>
                        <a:rPr lang="en-GB" sz="1200" kern="1200">
                          <a:solidFill>
                            <a:schemeClr val="bg1"/>
                          </a:solidFill>
                          <a:effectLst/>
                        </a:rPr>
                        <a:t> Well below expectation</a:t>
                      </a:r>
                      <a:endParaRPr lang="en-GB">
                        <a:solidFill>
                          <a:schemeClr val="bg1"/>
                        </a:solidFill>
                        <a:effectLst/>
                      </a:endParaRPr>
                    </a:p>
                  </a:txBody>
                  <a:tcPr marL="0" marR="0" marT="0" marB="0" anchor="ctr">
                    <a:lnL w="6350" cap="flat" cmpd="sng" algn="ctr">
                      <a:solidFill>
                        <a:sysClr val="windowText" lastClr="000000"/>
                      </a:solidFill>
                      <a:prstDash val="solid"/>
                      <a:miter lim="800000"/>
                    </a:lnL>
                    <a:lnR w="6350" cap="flat" cmpd="sng" algn="ctr">
                      <a:solidFill>
                        <a:sysClr val="windowText" lastClr="000000"/>
                      </a:solidFill>
                      <a:prstDash val="solid"/>
                      <a:miter lim="800000"/>
                    </a:lnR>
                    <a:lnT w="6350" cap="flat" cmpd="sng" algn="ctr">
                      <a:solidFill>
                        <a:sysClr val="windowText" lastClr="000000"/>
                      </a:solidFill>
                      <a:prstDash val="solid"/>
                      <a:miter lim="800000"/>
                    </a:lnT>
                    <a:lnB w="6350" cap="flat" cmpd="sng" algn="ctr">
                      <a:solidFill>
                        <a:sysClr val="windowText" lastClr="000000"/>
                      </a:solidFill>
                      <a:prstDash val="solid"/>
                      <a:miter lim="800000"/>
                    </a:lnB>
                    <a:lnTlToBr w="12700" cmpd="sng">
                      <a:noFill/>
                      <a:prstDash val="solid"/>
                    </a:lnTlToBr>
                    <a:lnBlToTr w="12700" cmpd="sng">
                      <a:noFill/>
                      <a:prstDash val="solid"/>
                    </a:lnBlToTr>
                    <a:solidFill>
                      <a:srgbClr val="717C7C"/>
                    </a:solidFill>
                  </a:tcPr>
                </a:tc>
                <a:extLst>
                  <a:ext uri="{0D108BD9-81ED-4DB2-BD59-A6C34878D82A}">
                    <a16:rowId xmlns:a16="http://schemas.microsoft.com/office/drawing/2014/main" val="2394026978"/>
                  </a:ext>
                </a:extLst>
              </a:tr>
            </a:tbl>
          </a:graphicData>
        </a:graphic>
      </p:graphicFrame>
      <p:sp>
        <p:nvSpPr>
          <p:cNvPr id="10" name="Rectangle 9">
            <a:extLst>
              <a:ext uri="{FF2B5EF4-FFF2-40B4-BE49-F238E27FC236}">
                <a16:creationId xmlns:a16="http://schemas.microsoft.com/office/drawing/2014/main" id="{E9541555-62CC-4CDA-86E5-ADB5E1ABBDAC}"/>
              </a:ext>
            </a:extLst>
          </p:cNvPr>
          <p:cNvSpPr/>
          <p:nvPr/>
        </p:nvSpPr>
        <p:spPr>
          <a:xfrm>
            <a:off x="9810991" y="3222883"/>
            <a:ext cx="2076209" cy="206117"/>
          </a:xfrm>
          <a:prstGeom prst="rect">
            <a:avLst/>
          </a:prstGeom>
          <a:solidFill>
            <a:srgbClr val="00B0F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a:t>OUTPERFORMING</a:t>
            </a:r>
          </a:p>
        </p:txBody>
      </p:sp>
      <p:sp>
        <p:nvSpPr>
          <p:cNvPr id="11" name="Rectangle 10">
            <a:extLst>
              <a:ext uri="{FF2B5EF4-FFF2-40B4-BE49-F238E27FC236}">
                <a16:creationId xmlns:a16="http://schemas.microsoft.com/office/drawing/2014/main" id="{A38152AE-A8E9-4E74-8B87-85028C221889}"/>
              </a:ext>
            </a:extLst>
          </p:cNvPr>
          <p:cNvSpPr/>
          <p:nvPr/>
        </p:nvSpPr>
        <p:spPr>
          <a:xfrm>
            <a:off x="9810991" y="3457639"/>
            <a:ext cx="2076209" cy="197303"/>
          </a:xfrm>
          <a:prstGeom prst="rect">
            <a:avLst/>
          </a:prstGeom>
          <a:solidFill>
            <a:srgbClr val="92D05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a:t>GOOD</a:t>
            </a:r>
          </a:p>
        </p:txBody>
      </p:sp>
      <p:sp>
        <p:nvSpPr>
          <p:cNvPr id="12" name="Rectangle 11">
            <a:extLst>
              <a:ext uri="{FF2B5EF4-FFF2-40B4-BE49-F238E27FC236}">
                <a16:creationId xmlns:a16="http://schemas.microsoft.com/office/drawing/2014/main" id="{4994D8A5-FFEA-485B-A791-30E581E7445D}"/>
              </a:ext>
            </a:extLst>
          </p:cNvPr>
          <p:cNvSpPr/>
          <p:nvPr/>
        </p:nvSpPr>
        <p:spPr>
          <a:xfrm>
            <a:off x="9810991" y="3683581"/>
            <a:ext cx="2076209" cy="197303"/>
          </a:xfrm>
          <a:prstGeom prst="rect">
            <a:avLst/>
          </a:prstGeom>
          <a:solidFill>
            <a:srgbClr val="FFC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a:t>MODERATE</a:t>
            </a:r>
          </a:p>
        </p:txBody>
      </p:sp>
      <p:sp>
        <p:nvSpPr>
          <p:cNvPr id="13" name="Rectangle 12">
            <a:extLst>
              <a:ext uri="{FF2B5EF4-FFF2-40B4-BE49-F238E27FC236}">
                <a16:creationId xmlns:a16="http://schemas.microsoft.com/office/drawing/2014/main" id="{489D39D5-CE40-4283-86D1-F772EBCD79DD}"/>
              </a:ext>
            </a:extLst>
          </p:cNvPr>
          <p:cNvSpPr/>
          <p:nvPr/>
        </p:nvSpPr>
        <p:spPr>
          <a:xfrm>
            <a:off x="9810991" y="3909523"/>
            <a:ext cx="2076209" cy="197303"/>
          </a:xfrm>
          <a:prstGeom prst="rect">
            <a:avLst/>
          </a:prstGeom>
          <a:solidFill>
            <a:srgbClr val="FF00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a:t>UNDERPERFORMING</a:t>
            </a:r>
          </a:p>
        </p:txBody>
      </p:sp>
      <p:sp>
        <p:nvSpPr>
          <p:cNvPr id="14" name="Rectangle 13">
            <a:extLst>
              <a:ext uri="{FF2B5EF4-FFF2-40B4-BE49-F238E27FC236}">
                <a16:creationId xmlns:a16="http://schemas.microsoft.com/office/drawing/2014/main" id="{D6A97A11-8D4B-402B-86B0-F24CF0260E8B}"/>
              </a:ext>
            </a:extLst>
          </p:cNvPr>
          <p:cNvSpPr/>
          <p:nvPr/>
        </p:nvSpPr>
        <p:spPr>
          <a:xfrm>
            <a:off x="9810991" y="4135465"/>
            <a:ext cx="2076209" cy="197303"/>
          </a:xfrm>
          <a:prstGeom prst="rect">
            <a:avLst/>
          </a:prstGeom>
          <a:solidFill>
            <a:schemeClr val="bg2">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b="1"/>
              <a:t>UNACCEPTABLE</a:t>
            </a:r>
          </a:p>
        </p:txBody>
      </p:sp>
    </p:spTree>
    <p:extLst>
      <p:ext uri="{BB962C8B-B14F-4D97-AF65-F5344CB8AC3E}">
        <p14:creationId xmlns:p14="http://schemas.microsoft.com/office/powerpoint/2010/main" val="22917230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Oversight / Interventions and Development Opportunities </a:t>
            </a:r>
          </a:p>
        </p:txBody>
      </p:sp>
      <p:sp>
        <p:nvSpPr>
          <p:cNvPr id="31" name="Freeform: Shape 30">
            <a:extLst>
              <a:ext uri="{FF2B5EF4-FFF2-40B4-BE49-F238E27FC236}">
                <a16:creationId xmlns:a16="http://schemas.microsoft.com/office/drawing/2014/main" id="{D3B44ED0-522C-48BD-9CC0-4AEBA773DEE2}"/>
              </a:ext>
            </a:extLst>
          </p:cNvPr>
          <p:cNvSpPr/>
          <p:nvPr/>
        </p:nvSpPr>
        <p:spPr>
          <a:xfrm>
            <a:off x="4440761"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3493529"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6051151"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6531183"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2523419" y="235938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3236752" y="203351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7197517"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8847665"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5380292"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7452911"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5651573"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3291717"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3083653"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6" name="Rectangle 5">
            <a:extLst>
              <a:ext uri="{FF2B5EF4-FFF2-40B4-BE49-F238E27FC236}">
                <a16:creationId xmlns:a16="http://schemas.microsoft.com/office/drawing/2014/main" id="{849178CE-EC7E-4239-AD72-892E1DC62604}"/>
              </a:ext>
            </a:extLst>
          </p:cNvPr>
          <p:cNvSpPr/>
          <p:nvPr/>
        </p:nvSpPr>
        <p:spPr>
          <a:xfrm>
            <a:off x="3762947"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5792110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0983AD68-DECD-4926-BC90-32A55322788A}"/>
              </a:ext>
            </a:extLst>
          </p:cNvPr>
          <p:cNvGraphicFramePr>
            <a:graphicFrameLocks noGrp="1"/>
          </p:cNvGraphicFramePr>
          <p:nvPr>
            <p:extLst>
              <p:ext uri="{D42A27DB-BD31-4B8C-83A1-F6EECF244321}">
                <p14:modId xmlns:p14="http://schemas.microsoft.com/office/powerpoint/2010/main" val="4267782679"/>
              </p:ext>
            </p:extLst>
          </p:nvPr>
        </p:nvGraphicFramePr>
        <p:xfrm>
          <a:off x="533398" y="1641379"/>
          <a:ext cx="11160124" cy="2207520"/>
        </p:xfrm>
        <a:graphic>
          <a:graphicData uri="http://schemas.openxmlformats.org/drawingml/2006/table">
            <a:tbl>
              <a:tblPr firstRow="1" firstCol="1" bandRow="1">
                <a:tableStyleId>{F2DE63D5-997A-4646-A377-4702673A728D}</a:tableStyleId>
              </a:tblPr>
              <a:tblGrid>
                <a:gridCol w="885995">
                  <a:extLst>
                    <a:ext uri="{9D8B030D-6E8A-4147-A177-3AD203B41FA5}">
                      <a16:colId xmlns:a16="http://schemas.microsoft.com/office/drawing/2014/main" val="1590794872"/>
                    </a:ext>
                  </a:extLst>
                </a:gridCol>
                <a:gridCol w="4765650">
                  <a:extLst>
                    <a:ext uri="{9D8B030D-6E8A-4147-A177-3AD203B41FA5}">
                      <a16:colId xmlns:a16="http://schemas.microsoft.com/office/drawing/2014/main" val="1253544616"/>
                    </a:ext>
                  </a:extLst>
                </a:gridCol>
                <a:gridCol w="5508479">
                  <a:extLst>
                    <a:ext uri="{9D8B030D-6E8A-4147-A177-3AD203B41FA5}">
                      <a16:colId xmlns:a16="http://schemas.microsoft.com/office/drawing/2014/main" val="2035172812"/>
                    </a:ext>
                  </a:extLst>
                </a:gridCol>
              </a:tblGrid>
              <a:tr h="0">
                <a:tc gridSpan="2">
                  <a:txBody>
                    <a:bodyPr/>
                    <a:lstStyle/>
                    <a:p>
                      <a:pPr>
                        <a:spcAft>
                          <a:spcPts val="0"/>
                        </a:spcAft>
                      </a:pPr>
                      <a:r>
                        <a:rPr lang="en-GB" sz="1400" b="1">
                          <a:solidFill>
                            <a:schemeClr val="bg1"/>
                          </a:solidFill>
                          <a:effectLst/>
                        </a:rPr>
                        <a:t>Agenda Item</a:t>
                      </a:r>
                      <a:endParaRPr lang="en-GB" sz="1400">
                        <a:solidFill>
                          <a:schemeClr val="bg1"/>
                        </a:solidFill>
                        <a:effectLst/>
                        <a:latin typeface="+mn-lt"/>
                        <a:ea typeface="Calibri" panose="020F0502020204030204" pitchFamily="34" charset="0"/>
                      </a:endParaRPr>
                    </a:p>
                  </a:txBody>
                  <a:tcPr marL="90000" marR="90000" marT="46800" marB="46800">
                    <a:lnL w="6350" cap="flat" cmpd="sng" algn="ctr">
                      <a:noFill/>
                      <a:prstDash val="solid"/>
                      <a:miter lim="800000"/>
                    </a:lnL>
                    <a:lnR>
                      <a:noFill/>
                    </a:lnR>
                    <a:lnT w="6350" cap="flat" cmpd="sng" algn="ctr">
                      <a:noFill/>
                      <a:prstDash val="solid"/>
                      <a:miter lim="800000"/>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GB"/>
                    </a:p>
                  </a:txBody>
                  <a:tcPr/>
                </a:tc>
                <a:tc>
                  <a:txBody>
                    <a:bodyPr/>
                    <a:lstStyle/>
                    <a:p>
                      <a:pPr algn="ctr">
                        <a:spcAft>
                          <a:spcPts val="0"/>
                        </a:spcAft>
                      </a:pPr>
                      <a:r>
                        <a:rPr lang="en-GB" sz="1400" b="1">
                          <a:solidFill>
                            <a:schemeClr val="bg1"/>
                          </a:solidFill>
                          <a:effectLst/>
                        </a:rPr>
                        <a:t>Timings</a:t>
                      </a:r>
                      <a:endParaRPr lang="en-GB" sz="1400">
                        <a:solidFill>
                          <a:schemeClr val="bg1"/>
                        </a:solidFill>
                        <a:effectLst/>
                        <a:latin typeface="+mn-lt"/>
                        <a:ea typeface="Calibri" panose="020F0502020204030204" pitchFamily="34" charset="0"/>
                      </a:endParaRPr>
                    </a:p>
                  </a:txBody>
                  <a:tcPr marL="90000" marR="90000" marT="46800" marB="46800">
                    <a:lnL>
                      <a:noFill/>
                    </a:lnL>
                    <a:lnR>
                      <a:noFill/>
                    </a:lnR>
                    <a:lnT w="6350" cap="flat" cmpd="sng" algn="ctr">
                      <a:noFill/>
                      <a:prstDash val="solid"/>
                      <a:miter lim="800000"/>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81549059"/>
                  </a:ext>
                </a:extLst>
              </a:tr>
              <a:tr h="0">
                <a:tc>
                  <a:txBody>
                    <a:bodyPr/>
                    <a:lstStyle/>
                    <a:p>
                      <a:pPr>
                        <a:lnSpc>
                          <a:spcPct val="100000"/>
                        </a:lnSpc>
                        <a:spcBef>
                          <a:spcPts val="0"/>
                        </a:spcBef>
                        <a:spcAft>
                          <a:spcPts val="600"/>
                        </a:spcAft>
                      </a:pPr>
                      <a:r>
                        <a:rPr lang="en-GB" sz="1200">
                          <a:effectLst/>
                        </a:rPr>
                        <a:t>1.</a:t>
                      </a:r>
                      <a:endParaRPr lang="en-GB" sz="1200">
                        <a:effectLst/>
                        <a:latin typeface="+mn-lt"/>
                        <a:ea typeface="Calibri" panose="020F0502020204030204" pitchFamily="34" charset="0"/>
                      </a:endParaRPr>
                    </a:p>
                  </a:txBody>
                  <a:tcPr marL="90000" marR="90000" marT="46800" marB="46800" anchor="ctr">
                    <a:lnL w="6350" cap="flat" cmpd="sng" algn="ctr">
                      <a:noFill/>
                      <a:prstDash val="solid"/>
                      <a:miter lim="800000"/>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600"/>
                        </a:spcAft>
                      </a:pPr>
                      <a:r>
                        <a:rPr lang="en-GB" sz="1200">
                          <a:effectLst/>
                          <a:latin typeface="+mn-lt"/>
                          <a:ea typeface="Calibri" panose="020F0502020204030204" pitchFamily="34" charset="0"/>
                        </a:rPr>
                        <a:t>Oversight framework overview – </a:t>
                      </a:r>
                      <a:r>
                        <a:rPr lang="en-GB" sz="1200" i="1">
                          <a:effectLst/>
                          <a:latin typeface="+mn-lt"/>
                          <a:ea typeface="Calibri" panose="020F0502020204030204" pitchFamily="34" charset="0"/>
                        </a:rPr>
                        <a:t>what is it and how will it work? </a:t>
                      </a:r>
                    </a:p>
                    <a:p>
                      <a:pPr>
                        <a:lnSpc>
                          <a:spcPct val="100000"/>
                        </a:lnSpc>
                        <a:spcBef>
                          <a:spcPts val="0"/>
                        </a:spcBef>
                        <a:spcAft>
                          <a:spcPts val="600"/>
                        </a:spcAft>
                      </a:pPr>
                      <a:r>
                        <a:rPr lang="en-GB" sz="1200">
                          <a:effectLst/>
                          <a:latin typeface="+mn-lt"/>
                          <a:ea typeface="Calibri" panose="020F0502020204030204" pitchFamily="34" charset="0"/>
                        </a:rPr>
                        <a:t> - Overview of the broader framework </a:t>
                      </a:r>
                    </a:p>
                    <a:p>
                      <a:pPr>
                        <a:lnSpc>
                          <a:spcPct val="100000"/>
                        </a:lnSpc>
                        <a:spcBef>
                          <a:spcPts val="0"/>
                        </a:spcBef>
                        <a:spcAft>
                          <a:spcPts val="600"/>
                        </a:spcAft>
                      </a:pPr>
                      <a:r>
                        <a:rPr lang="en-GB" sz="1200">
                          <a:effectLst/>
                          <a:latin typeface="+mn-lt"/>
                          <a:ea typeface="Calibri" panose="020F0502020204030204" pitchFamily="34" charset="0"/>
                        </a:rPr>
                        <a:t> - How will it work for outwards reinsurance?</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600"/>
                        </a:spcAft>
                      </a:pPr>
                      <a:endParaRPr lang="en-GB" sz="1200">
                        <a:effectLst/>
                        <a:latin typeface="+mn-lt"/>
                        <a:ea typeface="Calibri" panose="020F0502020204030204" pitchFamily="34" charset="0"/>
                      </a:endParaRPr>
                    </a:p>
                    <a:p>
                      <a:pPr algn="ctr">
                        <a:lnSpc>
                          <a:spcPct val="100000"/>
                        </a:lnSpc>
                        <a:spcBef>
                          <a:spcPts val="0"/>
                        </a:spcBef>
                        <a:spcAft>
                          <a:spcPts val="600"/>
                        </a:spcAft>
                      </a:pPr>
                      <a:r>
                        <a:rPr lang="en-GB" sz="1200" i="0">
                          <a:effectLst/>
                          <a:latin typeface="+mn-lt"/>
                          <a:ea typeface="Calibri" panose="020F0502020204030204" pitchFamily="34" charset="0"/>
                        </a:rPr>
                        <a:t>25 mins</a:t>
                      </a:r>
                    </a:p>
                    <a:p>
                      <a:pPr algn="ctr">
                        <a:lnSpc>
                          <a:spcPct val="100000"/>
                        </a:lnSpc>
                        <a:spcBef>
                          <a:spcPts val="0"/>
                        </a:spcBef>
                        <a:spcAft>
                          <a:spcPts val="600"/>
                        </a:spcAft>
                      </a:pPr>
                      <a:r>
                        <a:rPr lang="en-GB" sz="1200" i="0">
                          <a:effectLst/>
                          <a:latin typeface="+mn-lt"/>
                          <a:ea typeface="Calibri" panose="020F0502020204030204" pitchFamily="34" charset="0"/>
                        </a:rPr>
                        <a:t>15min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941502"/>
                  </a:ext>
                </a:extLst>
              </a:tr>
              <a:tr h="0">
                <a:tc>
                  <a:txBody>
                    <a:bodyPr/>
                    <a:lstStyle/>
                    <a:p>
                      <a:pPr>
                        <a:lnSpc>
                          <a:spcPct val="100000"/>
                        </a:lnSpc>
                        <a:spcBef>
                          <a:spcPts val="0"/>
                        </a:spcBef>
                        <a:spcAft>
                          <a:spcPts val="600"/>
                        </a:spcAft>
                      </a:pPr>
                      <a:r>
                        <a:rPr lang="en-GB" sz="1200">
                          <a:effectLst/>
                        </a:rPr>
                        <a:t>2.</a:t>
                      </a:r>
                      <a:endParaRPr lang="en-GB" sz="1200">
                        <a:effectLst/>
                        <a:latin typeface="+mn-lt"/>
                        <a:ea typeface="Calibri" panose="020F0502020204030204" pitchFamily="34" charset="0"/>
                      </a:endParaRPr>
                    </a:p>
                  </a:txBody>
                  <a:tcPr marL="90000" marR="90000" marT="46800" marB="46800" anchor="ctr">
                    <a:lnL w="6350" cap="flat" cmpd="sng" algn="ctr">
                      <a:noFill/>
                      <a:prstDash val="solid"/>
                      <a:miter lim="800000"/>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600"/>
                        </a:spcAft>
                      </a:pPr>
                      <a:r>
                        <a:rPr lang="en-GB" sz="1200">
                          <a:effectLst/>
                          <a:latin typeface="+mn-lt"/>
                          <a:ea typeface="Calibri" panose="020F0502020204030204" pitchFamily="34" charset="0"/>
                        </a:rPr>
                        <a:t>Case studies – bringing the framework to life </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600"/>
                        </a:spcAft>
                      </a:pPr>
                      <a:r>
                        <a:rPr lang="en-GB" sz="1200">
                          <a:effectLst/>
                          <a:latin typeface="+mn-lt"/>
                          <a:ea typeface="Calibri" panose="020F0502020204030204" pitchFamily="34" charset="0"/>
                        </a:rPr>
                        <a:t>25 min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60002219"/>
                  </a:ext>
                </a:extLst>
              </a:tr>
              <a:tr h="0">
                <a:tc>
                  <a:txBody>
                    <a:bodyPr/>
                    <a:lstStyle/>
                    <a:p>
                      <a:pPr>
                        <a:lnSpc>
                          <a:spcPct val="100000"/>
                        </a:lnSpc>
                        <a:spcBef>
                          <a:spcPts val="0"/>
                        </a:spcBef>
                        <a:spcAft>
                          <a:spcPts val="600"/>
                        </a:spcAft>
                      </a:pPr>
                      <a:r>
                        <a:rPr lang="en-GB" sz="1200">
                          <a:effectLst/>
                          <a:latin typeface="+mn-lt"/>
                          <a:ea typeface="Calibri" panose="020F0502020204030204" pitchFamily="34" charset="0"/>
                        </a:rPr>
                        <a:t>3.</a:t>
                      </a:r>
                    </a:p>
                  </a:txBody>
                  <a:tcPr marL="90000" marR="90000" marT="46800" marB="46800" anchor="ctr">
                    <a:lnL w="6350" cap="flat" cmpd="sng" algn="ctr">
                      <a:noFill/>
                      <a:prstDash val="solid"/>
                      <a:miter lim="800000"/>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600"/>
                        </a:spcAft>
                      </a:pPr>
                      <a:r>
                        <a:rPr lang="en-GB" sz="1200">
                          <a:effectLst/>
                          <a:latin typeface="+mn-lt"/>
                          <a:ea typeface="Calibri" panose="020F0502020204030204" pitchFamily="34" charset="0"/>
                        </a:rPr>
                        <a:t>Self Assessment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600"/>
                        </a:spcAft>
                      </a:pPr>
                      <a:r>
                        <a:rPr lang="en-GB" sz="1200">
                          <a:effectLst/>
                          <a:latin typeface="+mn-lt"/>
                          <a:ea typeface="Calibri" panose="020F0502020204030204" pitchFamily="34" charset="0"/>
                        </a:rPr>
                        <a:t>5 min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37677189"/>
                  </a:ext>
                </a:extLst>
              </a:tr>
              <a:tr h="0">
                <a:tc>
                  <a:txBody>
                    <a:bodyPr/>
                    <a:lstStyle/>
                    <a:p>
                      <a:pPr>
                        <a:lnSpc>
                          <a:spcPct val="100000"/>
                        </a:lnSpc>
                        <a:spcBef>
                          <a:spcPts val="0"/>
                        </a:spcBef>
                        <a:spcAft>
                          <a:spcPts val="600"/>
                        </a:spcAft>
                      </a:pPr>
                      <a:r>
                        <a:rPr lang="en-GB" sz="1200">
                          <a:effectLst/>
                        </a:rPr>
                        <a:t>4. </a:t>
                      </a:r>
                      <a:endParaRPr lang="en-GB" sz="1200">
                        <a:effectLst/>
                        <a:latin typeface="+mn-lt"/>
                        <a:ea typeface="Calibri" panose="020F0502020204030204" pitchFamily="34" charset="0"/>
                      </a:endParaRPr>
                    </a:p>
                  </a:txBody>
                  <a:tcPr marL="90000" marR="90000" marT="46800" marB="46800" anchor="ctr">
                    <a:lnL w="6350" cap="flat" cmpd="sng" algn="ctr">
                      <a:noFill/>
                      <a:prstDash val="solid"/>
                      <a:miter lim="800000"/>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600"/>
                        </a:spcAft>
                      </a:pPr>
                      <a:r>
                        <a:rPr lang="en-GB" sz="1200">
                          <a:effectLst/>
                          <a:latin typeface="+mn-lt"/>
                          <a:ea typeface="Calibri" panose="020F0502020204030204" pitchFamily="34" charset="0"/>
                        </a:rPr>
                        <a:t>Next step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600"/>
                        </a:spcAft>
                      </a:pPr>
                      <a:r>
                        <a:rPr lang="en-GB" sz="1200">
                          <a:effectLst/>
                          <a:latin typeface="+mn-lt"/>
                          <a:ea typeface="Calibri" panose="020F0502020204030204" pitchFamily="34" charset="0"/>
                        </a:rPr>
                        <a:t>5 min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5638323"/>
                  </a:ext>
                </a:extLst>
              </a:tr>
              <a:tr h="0">
                <a:tc>
                  <a:txBody>
                    <a:bodyPr/>
                    <a:lstStyle/>
                    <a:p>
                      <a:pPr>
                        <a:lnSpc>
                          <a:spcPct val="100000"/>
                        </a:lnSpc>
                        <a:spcBef>
                          <a:spcPts val="0"/>
                        </a:spcBef>
                        <a:spcAft>
                          <a:spcPts val="600"/>
                        </a:spcAft>
                      </a:pPr>
                      <a:r>
                        <a:rPr lang="en-GB" sz="1200">
                          <a:effectLst/>
                          <a:latin typeface="+mn-lt"/>
                          <a:ea typeface="Calibri" panose="020F0502020204030204" pitchFamily="34" charset="0"/>
                        </a:rPr>
                        <a:t>5. </a:t>
                      </a:r>
                    </a:p>
                  </a:txBody>
                  <a:tcPr marL="90000" marR="90000" marT="46800" marB="46800" anchor="ctr">
                    <a:lnL w="6350" cap="flat" cmpd="sng" algn="ctr">
                      <a:noFill/>
                      <a:prstDash val="solid"/>
                      <a:miter lim="800000"/>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0000"/>
                        </a:lnSpc>
                        <a:spcBef>
                          <a:spcPts val="0"/>
                        </a:spcBef>
                        <a:spcAft>
                          <a:spcPts val="600"/>
                        </a:spcAft>
                      </a:pPr>
                      <a:r>
                        <a:rPr lang="en-GB" sz="1200">
                          <a:effectLst/>
                          <a:latin typeface="+mn-lt"/>
                          <a:ea typeface="Calibri" panose="020F0502020204030204" pitchFamily="34" charset="0"/>
                        </a:rPr>
                        <a:t>Q&amp;A</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0000"/>
                        </a:lnSpc>
                        <a:spcBef>
                          <a:spcPts val="0"/>
                        </a:spcBef>
                        <a:spcAft>
                          <a:spcPts val="600"/>
                        </a:spcAft>
                      </a:pPr>
                      <a:r>
                        <a:rPr lang="en-GB" sz="1200">
                          <a:effectLst/>
                          <a:latin typeface="+mn-lt"/>
                          <a:ea typeface="Calibri" panose="020F0502020204030204" pitchFamily="34" charset="0"/>
                        </a:rPr>
                        <a:t>15 mins</a:t>
                      </a:r>
                    </a:p>
                  </a:txBody>
                  <a:tcPr marL="90000" marR="90000" marT="46800" marB="46800">
                    <a:lnL>
                      <a:noFill/>
                    </a:lnL>
                    <a:lnR>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9785907"/>
                  </a:ext>
                </a:extLst>
              </a:tr>
            </a:tbl>
          </a:graphicData>
        </a:graphic>
      </p:graphicFrame>
      <p:sp>
        <p:nvSpPr>
          <p:cNvPr id="2" name="Title 1">
            <a:extLst>
              <a:ext uri="{FF2B5EF4-FFF2-40B4-BE49-F238E27FC236}">
                <a16:creationId xmlns:a16="http://schemas.microsoft.com/office/drawing/2014/main" id="{BC5E93FF-EEA0-4471-934E-EEDCAA44C49B}"/>
              </a:ext>
            </a:extLst>
          </p:cNvPr>
          <p:cNvSpPr>
            <a:spLocks noGrp="1"/>
          </p:cNvSpPr>
          <p:nvPr>
            <p:ph type="title"/>
          </p:nvPr>
        </p:nvSpPr>
        <p:spPr/>
        <p:txBody>
          <a:bodyPr/>
          <a:lstStyle/>
          <a:p>
            <a:r>
              <a:rPr lang="en-GB"/>
              <a:t>Agenda </a:t>
            </a:r>
          </a:p>
        </p:txBody>
      </p:sp>
      <p:sp>
        <p:nvSpPr>
          <p:cNvPr id="8" name="Text Placeholder 7">
            <a:extLst>
              <a:ext uri="{FF2B5EF4-FFF2-40B4-BE49-F238E27FC236}">
                <a16:creationId xmlns:a16="http://schemas.microsoft.com/office/drawing/2014/main" id="{F0D9D441-C8C7-45E6-9EB9-21A643006995}"/>
              </a:ext>
            </a:extLst>
          </p:cNvPr>
          <p:cNvSpPr>
            <a:spLocks noGrp="1"/>
          </p:cNvSpPr>
          <p:nvPr>
            <p:ph type="body" sz="quarter" idx="16"/>
          </p:nvPr>
        </p:nvSpPr>
        <p:spPr/>
        <p:txBody>
          <a:bodyPr/>
          <a:lstStyle/>
          <a:p>
            <a:endParaRPr lang="en-GB"/>
          </a:p>
        </p:txBody>
      </p:sp>
      <p:sp>
        <p:nvSpPr>
          <p:cNvPr id="9" name="Text Placeholder 8">
            <a:extLst>
              <a:ext uri="{FF2B5EF4-FFF2-40B4-BE49-F238E27FC236}">
                <a16:creationId xmlns:a16="http://schemas.microsoft.com/office/drawing/2014/main" id="{75D22304-CD74-4EEF-B709-D127F4A19609}"/>
              </a:ext>
            </a:extLst>
          </p:cNvPr>
          <p:cNvSpPr>
            <a:spLocks noGrp="1"/>
          </p:cNvSpPr>
          <p:nvPr>
            <p:ph type="body" sz="quarter" idx="17"/>
          </p:nvPr>
        </p:nvSpPr>
        <p:spPr/>
        <p:txBody>
          <a:bodyPr/>
          <a:lstStyle/>
          <a:p>
            <a:endParaRPr lang="en-GB"/>
          </a:p>
        </p:txBody>
      </p:sp>
    </p:spTree>
    <p:extLst>
      <p:ext uri="{BB962C8B-B14F-4D97-AF65-F5344CB8AC3E}">
        <p14:creationId xmlns:p14="http://schemas.microsoft.com/office/powerpoint/2010/main" val="799438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Interventions Playbook </a:t>
            </a:r>
          </a:p>
        </p:txBody>
      </p:sp>
      <p:graphicFrame>
        <p:nvGraphicFramePr>
          <p:cNvPr id="5" name="Table 4">
            <a:extLst>
              <a:ext uri="{FF2B5EF4-FFF2-40B4-BE49-F238E27FC236}">
                <a16:creationId xmlns:a16="http://schemas.microsoft.com/office/drawing/2014/main" id="{D84663F2-8EF6-4FDE-8045-E4E687DB51C6}"/>
              </a:ext>
            </a:extLst>
          </p:cNvPr>
          <p:cNvGraphicFramePr>
            <a:graphicFrameLocks noGrp="1"/>
          </p:cNvGraphicFramePr>
          <p:nvPr/>
        </p:nvGraphicFramePr>
        <p:xfrm>
          <a:off x="539750" y="1801257"/>
          <a:ext cx="11112490" cy="4230816"/>
        </p:xfrm>
        <a:graphic>
          <a:graphicData uri="http://schemas.openxmlformats.org/drawingml/2006/table">
            <a:tbl>
              <a:tblPr firstRow="1" bandRow="1"/>
              <a:tblGrid>
                <a:gridCol w="1016000">
                  <a:extLst>
                    <a:ext uri="{9D8B030D-6E8A-4147-A177-3AD203B41FA5}">
                      <a16:colId xmlns:a16="http://schemas.microsoft.com/office/drawing/2014/main" val="2084059475"/>
                    </a:ext>
                  </a:extLst>
                </a:gridCol>
                <a:gridCol w="1475883">
                  <a:extLst>
                    <a:ext uri="{9D8B030D-6E8A-4147-A177-3AD203B41FA5}">
                      <a16:colId xmlns:a16="http://schemas.microsoft.com/office/drawing/2014/main" val="983838815"/>
                    </a:ext>
                  </a:extLst>
                </a:gridCol>
                <a:gridCol w="2381250">
                  <a:extLst>
                    <a:ext uri="{9D8B030D-6E8A-4147-A177-3AD203B41FA5}">
                      <a16:colId xmlns:a16="http://schemas.microsoft.com/office/drawing/2014/main" val="573798180"/>
                    </a:ext>
                  </a:extLst>
                </a:gridCol>
                <a:gridCol w="1666873">
                  <a:extLst>
                    <a:ext uri="{9D8B030D-6E8A-4147-A177-3AD203B41FA5}">
                      <a16:colId xmlns:a16="http://schemas.microsoft.com/office/drawing/2014/main" val="3155728175"/>
                    </a:ext>
                  </a:extLst>
                </a:gridCol>
                <a:gridCol w="1799781">
                  <a:extLst>
                    <a:ext uri="{9D8B030D-6E8A-4147-A177-3AD203B41FA5}">
                      <a16:colId xmlns:a16="http://schemas.microsoft.com/office/drawing/2014/main" val="1812929117"/>
                    </a:ext>
                  </a:extLst>
                </a:gridCol>
                <a:gridCol w="2772703">
                  <a:extLst>
                    <a:ext uri="{9D8B030D-6E8A-4147-A177-3AD203B41FA5}">
                      <a16:colId xmlns:a16="http://schemas.microsoft.com/office/drawing/2014/main" val="3033410667"/>
                    </a:ext>
                  </a:extLst>
                </a:gridCol>
              </a:tblGrid>
              <a:tr h="370839">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pPr>
                      <a:r>
                        <a:rPr lang="en-US" sz="900" b="1">
                          <a:solidFill>
                            <a:srgbClr val="FFFFFF"/>
                          </a:solidFill>
                          <a:effectLst/>
                          <a:latin typeface="Arial"/>
                          <a:ea typeface="Arial Unicode MS"/>
                          <a:cs typeface="Times New Roman"/>
                        </a:rPr>
                        <a:t>Overall syndicate </a:t>
                      </a:r>
                      <a:r>
                        <a:rPr lang="en-US" sz="900" b="1" err="1">
                          <a:solidFill>
                            <a:srgbClr val="FFFFFF"/>
                          </a:solidFill>
                          <a:effectLst/>
                          <a:latin typeface="Arial"/>
                          <a:ea typeface="Arial Unicode MS"/>
                          <a:cs typeface="Times New Roman"/>
                        </a:rPr>
                        <a:t>categorisation</a:t>
                      </a:r>
                      <a:r>
                        <a:rPr lang="en-US" sz="900" b="1">
                          <a:solidFill>
                            <a:srgbClr val="FFFFFF"/>
                          </a:solidFill>
                          <a:effectLst/>
                          <a:latin typeface="Arial"/>
                          <a:ea typeface="Arial Unicode MS"/>
                          <a:cs typeface="Times New Roman"/>
                        </a:rPr>
                        <a:t> </a:t>
                      </a:r>
                      <a:r>
                        <a:rPr lang="en-US" sz="900">
                          <a:solidFill>
                            <a:srgbClr val="FFFFFF"/>
                          </a:solidFill>
                          <a:effectLst/>
                          <a:latin typeface="Arial"/>
                          <a:ea typeface="Arial Unicode MS"/>
                          <a:cs typeface="Times New Roman"/>
                        </a:rPr>
                        <a:t>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6350" cap="flat" cmpd="sng" algn="ctr">
                      <a:solidFill>
                        <a:srgbClr val="1E35BF"/>
                      </a:solidFill>
                      <a:prstDash val="solid"/>
                      <a:miter lim="800000"/>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1E35BF"/>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pPr>
                      <a:r>
                        <a:rPr lang="en-US" sz="900" b="1">
                          <a:solidFill>
                            <a:srgbClr val="FFFFFF"/>
                          </a:solidFill>
                          <a:effectLst/>
                          <a:latin typeface="Arial"/>
                          <a:ea typeface="Arial Unicode MS"/>
                          <a:cs typeface="Times New Roman"/>
                        </a:rPr>
                        <a:t>Unacceptable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717C7C"/>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tabLst>
                          <a:tab pos="3744595" algn="r"/>
                        </a:tabLst>
                      </a:pPr>
                      <a:r>
                        <a:rPr lang="en-US" sz="900" b="1">
                          <a:solidFill>
                            <a:srgbClr val="FFFFFF"/>
                          </a:solidFill>
                          <a:effectLst/>
                          <a:latin typeface="Arial"/>
                          <a:ea typeface="Arial Unicode MS"/>
                          <a:cs typeface="Times New Roman"/>
                        </a:rPr>
                        <a:t>Underperforming</a:t>
                      </a: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E60000"/>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tabLst>
                          <a:tab pos="3744595" algn="r"/>
                        </a:tabLst>
                      </a:pPr>
                      <a:r>
                        <a:rPr lang="en-US" sz="900" b="1">
                          <a:solidFill>
                            <a:srgbClr val="FFFFFF"/>
                          </a:solidFill>
                          <a:effectLst/>
                          <a:latin typeface="Arial"/>
                          <a:ea typeface="Arial Unicode MS"/>
                          <a:cs typeface="Times New Roman"/>
                        </a:rPr>
                        <a:t>Moderate</a:t>
                      </a: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tabLst>
                          <a:tab pos="3744595" algn="r"/>
                        </a:tabLst>
                      </a:pPr>
                      <a:r>
                        <a:rPr lang="en-US" sz="900" b="1">
                          <a:solidFill>
                            <a:srgbClr val="FFFFFF"/>
                          </a:solidFill>
                          <a:effectLst/>
                          <a:latin typeface="Arial"/>
                          <a:ea typeface="Arial Unicode MS"/>
                          <a:cs typeface="Times New Roman"/>
                        </a:rPr>
                        <a:t>Good</a:t>
                      </a: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92D050"/>
                    </a:solidFill>
                  </a:tcPr>
                </a:tc>
                <a:tc>
                  <a:txBody>
                    <a:bodyPr/>
                    <a:lstStyle>
                      <a:lvl1pPr marL="0" algn="l" defTabSz="914400" rtl="0" eaLnBrk="1" latinLnBrk="0" hangingPunct="1">
                        <a:defRPr sz="1800" b="1" kern="1200">
                          <a:solidFill>
                            <a:schemeClr val="bg1"/>
                          </a:solidFill>
                          <a:latin typeface="Arial"/>
                        </a:defRPr>
                      </a:lvl1pPr>
                      <a:lvl2pPr marL="457200" algn="l" defTabSz="914400" rtl="0" eaLnBrk="1" latinLnBrk="0" hangingPunct="1">
                        <a:defRPr sz="1800" b="1" kern="1200">
                          <a:solidFill>
                            <a:schemeClr val="bg1"/>
                          </a:solidFill>
                          <a:latin typeface="Arial"/>
                        </a:defRPr>
                      </a:lvl2pPr>
                      <a:lvl3pPr marL="914400" algn="l" defTabSz="914400" rtl="0" eaLnBrk="1" latinLnBrk="0" hangingPunct="1">
                        <a:defRPr sz="1800" b="1" kern="1200">
                          <a:solidFill>
                            <a:schemeClr val="bg1"/>
                          </a:solidFill>
                          <a:latin typeface="Arial"/>
                        </a:defRPr>
                      </a:lvl3pPr>
                      <a:lvl4pPr marL="1371600" algn="l" defTabSz="914400" rtl="0" eaLnBrk="1" latinLnBrk="0" hangingPunct="1">
                        <a:defRPr sz="1800" b="1" kern="1200">
                          <a:solidFill>
                            <a:schemeClr val="bg1"/>
                          </a:solidFill>
                          <a:latin typeface="Arial"/>
                        </a:defRPr>
                      </a:lvl4pPr>
                      <a:lvl5pPr marL="1828800" algn="l" defTabSz="914400" rtl="0" eaLnBrk="1" latinLnBrk="0" hangingPunct="1">
                        <a:defRPr sz="1800" b="1" kern="1200">
                          <a:solidFill>
                            <a:schemeClr val="bg1"/>
                          </a:solidFill>
                          <a:latin typeface="Arial"/>
                        </a:defRPr>
                      </a:lvl5pPr>
                      <a:lvl6pPr marL="2286000" algn="l" defTabSz="914400" rtl="0" eaLnBrk="1" latinLnBrk="0" hangingPunct="1">
                        <a:defRPr sz="1800" b="1" kern="1200">
                          <a:solidFill>
                            <a:schemeClr val="bg1"/>
                          </a:solidFill>
                          <a:latin typeface="Arial"/>
                        </a:defRPr>
                      </a:lvl6pPr>
                      <a:lvl7pPr marL="2743200" algn="l" defTabSz="914400" rtl="0" eaLnBrk="1" latinLnBrk="0" hangingPunct="1">
                        <a:defRPr sz="1800" b="1" kern="1200">
                          <a:solidFill>
                            <a:schemeClr val="bg1"/>
                          </a:solidFill>
                          <a:latin typeface="Arial"/>
                        </a:defRPr>
                      </a:lvl7pPr>
                      <a:lvl8pPr marL="3200400" algn="l" defTabSz="914400" rtl="0" eaLnBrk="1" latinLnBrk="0" hangingPunct="1">
                        <a:defRPr sz="1800" b="1" kern="1200">
                          <a:solidFill>
                            <a:schemeClr val="bg1"/>
                          </a:solidFill>
                          <a:latin typeface="Arial"/>
                        </a:defRPr>
                      </a:lvl8pPr>
                      <a:lvl9pPr marL="3657600" algn="l" defTabSz="914400" rtl="0" eaLnBrk="1" latinLnBrk="0" hangingPunct="1">
                        <a:defRPr sz="1800" b="1" kern="1200">
                          <a:solidFill>
                            <a:schemeClr val="bg1"/>
                          </a:solidFill>
                          <a:latin typeface="Arial"/>
                        </a:defRPr>
                      </a:lvl9pPr>
                    </a:lstStyle>
                    <a:p>
                      <a:pPr>
                        <a:lnSpc>
                          <a:spcPts val="1200"/>
                        </a:lnSpc>
                        <a:spcAft>
                          <a:spcPts val="600"/>
                        </a:spcAft>
                      </a:pPr>
                      <a:r>
                        <a:rPr lang="en-US" sz="900" b="1">
                          <a:solidFill>
                            <a:srgbClr val="FFFFFF"/>
                          </a:solidFill>
                          <a:effectLst/>
                          <a:latin typeface="Arial"/>
                          <a:ea typeface="Arial Unicode MS"/>
                          <a:cs typeface="Times New Roman"/>
                        </a:rPr>
                        <a:t>Outperforming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w="6350" cap="flat" cmpd="sng" algn="ctr">
                      <a:solidFill>
                        <a:srgbClr val="1E35BF"/>
                      </a:solidFill>
                      <a:prstDash val="solid"/>
                      <a:miter lim="800000"/>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1E35BF"/>
                    </a:solidFill>
                  </a:tcPr>
                </a:tc>
                <a:extLst>
                  <a:ext uri="{0D108BD9-81ED-4DB2-BD59-A6C34878D82A}">
                    <a16:rowId xmlns:a16="http://schemas.microsoft.com/office/drawing/2014/main" val="3623412552"/>
                  </a:ext>
                </a:extLst>
              </a:tr>
              <a:tr h="3708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tabLst>
                          <a:tab pos="3744595" algn="r"/>
                        </a:tabLst>
                      </a:pPr>
                      <a:endParaRPr lang="en-GB" sz="900">
                        <a:effectLst/>
                        <a:highlight>
                          <a:srgbClr val="FFFF00"/>
                        </a:highligh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6350" cap="flat" cmpd="sng" algn="ctr">
                      <a:solidFill>
                        <a:srgbClr val="1E35BF"/>
                      </a:solidFill>
                      <a:prstDash val="solid"/>
                      <a:miter lim="800000"/>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pPr>
                      <a:r>
                        <a:rPr lang="en-US" sz="800" i="1" kern="1200">
                          <a:solidFill>
                            <a:srgbClr val="000000"/>
                          </a:solidFill>
                          <a:effectLst/>
                          <a:latin typeface="Arial"/>
                          <a:ea typeface="Arial Unicode MS"/>
                          <a:cs typeface="Arial"/>
                        </a:rPr>
                        <a:t>Capability and performance well below expectations </a:t>
                      </a:r>
                      <a:r>
                        <a:rPr lang="en-US" sz="800" b="0" i="0" u="none" strike="noStrike" kern="1200" noProof="0">
                          <a:effectLst/>
                        </a:rPr>
                        <a:t>with all avenues to remediate exhausted</a:t>
                      </a:r>
                      <a:endParaRPr lang="en-GB" sz="900">
                        <a:effectLst/>
                        <a:latin typeface="Arial"/>
                        <a:ea typeface="Times New Roman" panose="02020603050405020304" pitchFamily="18" charset="0"/>
                        <a:cs typeface="Arial"/>
                      </a:endParaRPr>
                    </a:p>
                    <a:p>
                      <a:pPr marL="342900" lvl="0" indent="-342900">
                        <a:lnSpc>
                          <a:spcPts val="1200"/>
                        </a:lnSpc>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Immediate action required</a:t>
                      </a:r>
                      <a:endParaRPr lang="en-GB" sz="900">
                        <a:effectLst/>
                        <a:latin typeface="Arial"/>
                        <a:ea typeface="Times New Roman" panose="02020603050405020304" pitchFamily="18" charset="0"/>
                        <a:cs typeface="Times New Roman"/>
                      </a:endParaRPr>
                    </a:p>
                    <a:p>
                      <a:pPr marL="342900" lvl="0" indent="-342900">
                        <a:lnSpc>
                          <a:spcPts val="1200"/>
                        </a:lnSpc>
                        <a:spcAft>
                          <a:spcPts val="600"/>
                        </a:spcAft>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Full range of Interventions used</a:t>
                      </a:r>
                      <a:endParaRPr lang="en-GB" sz="900">
                        <a:effectLst/>
                        <a:latin typeface="Arial"/>
                        <a:ea typeface="Times New Roman" panose="02020603050405020304" pitchFamily="18" charset="0"/>
                        <a:cs typeface="Times New Roman"/>
                      </a:endParaRPr>
                    </a:p>
                    <a:p>
                      <a:pPr>
                        <a:lnSpc>
                          <a:spcPts val="1200"/>
                        </a:lnSpc>
                        <a:spcAft>
                          <a:spcPts val="600"/>
                        </a:spcAft>
                        <a:tabLst>
                          <a:tab pos="3744595" algn="r"/>
                        </a:tabLst>
                      </a:pP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717C7C">
                        <a:lumMod val="40000"/>
                        <a:lumOff val="6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tabLst>
                          <a:tab pos="3744595" algn="r"/>
                        </a:tabLst>
                      </a:pPr>
                      <a:r>
                        <a:rPr lang="en-US" sz="800" i="1">
                          <a:solidFill>
                            <a:srgbClr val="000000"/>
                          </a:solidFill>
                          <a:effectLst/>
                          <a:latin typeface="Arial"/>
                          <a:ea typeface="Arial Unicode MS"/>
                          <a:cs typeface="Times New Roman"/>
                        </a:rPr>
                        <a:t>Capability and performance below expectations</a:t>
                      </a:r>
                      <a:endParaRPr lang="en-GB" sz="900">
                        <a:effectLst/>
                        <a:latin typeface="Arial"/>
                        <a:ea typeface="Times New Roman" panose="02020603050405020304" pitchFamily="18" charset="0"/>
                        <a:cs typeface="Times New Roman"/>
                      </a:endParaRPr>
                    </a:p>
                    <a:p>
                      <a:pPr marL="342900" lvl="0" indent="-342900">
                        <a:lnSpc>
                          <a:spcPts val="1200"/>
                        </a:lnSpc>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Robust intervention taken</a:t>
                      </a:r>
                      <a:endParaRPr lang="en-GB" sz="900">
                        <a:effectLst/>
                        <a:latin typeface="Arial"/>
                        <a:ea typeface="Times New Roman" panose="02020603050405020304" pitchFamily="18" charset="0"/>
                        <a:cs typeface="Times New Roman"/>
                      </a:endParaRP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800" i="1">
                          <a:solidFill>
                            <a:srgbClr val="000000"/>
                          </a:solidFill>
                          <a:effectLst/>
                          <a:latin typeface="Arial"/>
                          <a:ea typeface="Times New Roman" panose="02020603050405020304" pitchFamily="18" charset="0"/>
                          <a:cs typeface="Times New Roman"/>
                        </a:rPr>
                        <a:t>Rapid remediation with close monitoring and escalation</a:t>
                      </a: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E60000">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tabLst>
                          <a:tab pos="3744595" algn="r"/>
                        </a:tabLst>
                      </a:pPr>
                      <a:r>
                        <a:rPr lang="en-US" sz="800" i="1" kern="1200">
                          <a:solidFill>
                            <a:srgbClr val="000000"/>
                          </a:solidFill>
                          <a:effectLst/>
                          <a:latin typeface="Arial"/>
                          <a:ea typeface="Arial Unicode MS"/>
                          <a:cs typeface="Arial"/>
                        </a:rPr>
                        <a:t>Capability and performance marginally below expectations</a:t>
                      </a:r>
                      <a:endParaRPr lang="en-GB" sz="900">
                        <a:effectLst/>
                        <a:latin typeface="Arial"/>
                        <a:ea typeface="Times New Roman" panose="02020603050405020304" pitchFamily="18" charset="0"/>
                        <a:cs typeface="Arial"/>
                      </a:endParaRPr>
                    </a:p>
                    <a:p>
                      <a:pPr marL="342900" lvl="0" indent="-342900">
                        <a:lnSpc>
                          <a:spcPts val="1200"/>
                        </a:lnSpc>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Arial"/>
                        </a:rPr>
                        <a:t>Targeted oversight into higher risk areas</a:t>
                      </a:r>
                      <a:endParaRPr lang="en-GB" sz="900">
                        <a:effectLst/>
                        <a:latin typeface="Arial"/>
                        <a:ea typeface="Times New Roman" panose="02020603050405020304" pitchFamily="18" charset="0"/>
                        <a:cs typeface="Arial"/>
                      </a:endParaRPr>
                    </a:p>
                    <a:p>
                      <a:pPr marL="342900" lvl="0" indent="-342900">
                        <a:lnSpc>
                          <a:spcPts val="1200"/>
                        </a:lnSpc>
                        <a:spcAft>
                          <a:spcPts val="600"/>
                        </a:spcAft>
                        <a:buFont typeface="Symbol" panose="05050102010706020507" pitchFamily="18" charset="2"/>
                        <a:buChar char=""/>
                      </a:pPr>
                      <a:r>
                        <a:rPr lang="en-US" sz="800" i="1">
                          <a:solidFill>
                            <a:srgbClr val="000000"/>
                          </a:solidFill>
                          <a:effectLst/>
                          <a:latin typeface="Arial"/>
                          <a:ea typeface="Times New Roman" panose="02020603050405020304" pitchFamily="18" charset="0"/>
                          <a:cs typeface="Arial"/>
                        </a:rPr>
                        <a:t>Moderate Interventions in place</a:t>
                      </a:r>
                      <a:r>
                        <a:rPr lang="en-US" sz="800">
                          <a:solidFill>
                            <a:srgbClr val="000000"/>
                          </a:solidFill>
                          <a:effectLst/>
                          <a:latin typeface="Arial"/>
                          <a:ea typeface="Times New Roman" panose="02020603050405020304" pitchFamily="18" charset="0"/>
                          <a:cs typeface="Arial"/>
                        </a:rPr>
                        <a:t>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FF5A00">
                        <a:lumMod val="20000"/>
                        <a:lumOff val="8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tabLst>
                          <a:tab pos="3744595" algn="r"/>
                        </a:tabLst>
                      </a:pPr>
                      <a:r>
                        <a:rPr lang="en-US" sz="800" i="1" kern="1200">
                          <a:solidFill>
                            <a:srgbClr val="000000"/>
                          </a:solidFill>
                          <a:effectLst/>
                          <a:latin typeface="Arial"/>
                          <a:ea typeface="Arial Unicode MS"/>
                          <a:cs typeface="Arial"/>
                        </a:rPr>
                        <a:t>Capability and performance in line with expectations</a:t>
                      </a:r>
                      <a:endParaRPr lang="en-GB" sz="900">
                        <a:effectLst/>
                        <a:latin typeface="Arial"/>
                        <a:ea typeface="Times New Roman" panose="02020603050405020304" pitchFamily="18" charset="0"/>
                        <a:cs typeface="Arial"/>
                      </a:endParaRPr>
                    </a:p>
                    <a:p>
                      <a:pPr marL="342900" lvl="0" indent="-342900">
                        <a:lnSpc>
                          <a:spcPts val="1200"/>
                        </a:lnSpc>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Targeted monitoring / oversight</a:t>
                      </a:r>
                      <a:endParaRPr lang="en-GB" sz="900">
                        <a:effectLst/>
                        <a:latin typeface="Arial"/>
                        <a:ea typeface="Times New Roman" panose="02020603050405020304" pitchFamily="18" charset="0"/>
                        <a:cs typeface="Times New Roman"/>
                      </a:endParaRPr>
                    </a:p>
                    <a:p>
                      <a:pPr marL="342900" lvl="0" indent="-342900">
                        <a:lnSpc>
                          <a:spcPts val="1200"/>
                        </a:lnSpc>
                        <a:spcAft>
                          <a:spcPts val="600"/>
                        </a:spcAft>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Minimal intervention</a:t>
                      </a: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CCFFCC"/>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nSpc>
                          <a:spcPts val="1200"/>
                        </a:lnSpc>
                        <a:spcAft>
                          <a:spcPts val="600"/>
                        </a:spcAft>
                      </a:pPr>
                      <a:r>
                        <a:rPr lang="en-US" sz="800" i="1" kern="1200">
                          <a:solidFill>
                            <a:srgbClr val="000000"/>
                          </a:solidFill>
                          <a:effectLst/>
                          <a:latin typeface="Arial"/>
                          <a:ea typeface="Arial Unicode MS"/>
                          <a:cs typeface="Arial"/>
                        </a:rPr>
                        <a:t>Capability in line with expectations and supported by Best in class performance</a:t>
                      </a:r>
                      <a:r>
                        <a:rPr lang="en-US" sz="800" i="1">
                          <a:solidFill>
                            <a:srgbClr val="FF0000"/>
                          </a:solidFill>
                          <a:effectLst/>
                          <a:latin typeface="Arial"/>
                          <a:ea typeface="Arial Unicode MS"/>
                          <a:cs typeface="Arial"/>
                        </a:rPr>
                        <a:t>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nSpc>
                          <a:spcPts val="1200"/>
                        </a:lnSpc>
                        <a:buFont typeface="Symbol" panose="05050102010706020507" pitchFamily="18" charset="2"/>
                        <a:buChar char=""/>
                        <a:tabLst>
                          <a:tab pos="3744595" algn="r"/>
                        </a:tabLst>
                      </a:pPr>
                      <a:r>
                        <a:rPr lang="en-US" sz="800" i="1">
                          <a:solidFill>
                            <a:srgbClr val="000000"/>
                          </a:solidFill>
                          <a:effectLst/>
                          <a:latin typeface="Arial"/>
                          <a:ea typeface="Times New Roman" panose="02020603050405020304" pitchFamily="18" charset="0"/>
                          <a:cs typeface="Times New Roman"/>
                        </a:rPr>
                        <a:t>Highly targeted / reduced oversight</a:t>
                      </a:r>
                      <a:endParaRPr lang="en-GB" sz="900">
                        <a:effectLst/>
                        <a:latin typeface="Arial"/>
                        <a:ea typeface="Times New Roman" panose="02020603050405020304" pitchFamily="18" charset="0"/>
                        <a:cs typeface="Times New Roman"/>
                      </a:endParaRPr>
                    </a:p>
                    <a:p>
                      <a:pPr marL="342900" lvl="0" indent="-342900">
                        <a:lnSpc>
                          <a:spcPts val="1200"/>
                        </a:lnSpc>
                        <a:spcAft>
                          <a:spcPts val="600"/>
                        </a:spcAft>
                        <a:buFont typeface="Symbol" panose="05050102010706020507" pitchFamily="18" charset="2"/>
                        <a:buChar char=""/>
                      </a:pPr>
                      <a:r>
                        <a:rPr lang="en-US" sz="800" i="1">
                          <a:solidFill>
                            <a:srgbClr val="000000"/>
                          </a:solidFill>
                          <a:effectLst/>
                          <a:latin typeface="Arial"/>
                          <a:ea typeface="Times New Roman" panose="02020603050405020304" pitchFamily="18" charset="0"/>
                          <a:cs typeface="Times New Roman"/>
                        </a:rPr>
                        <a:t>Interventions by exception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w="6350" cap="flat" cmpd="sng" algn="ctr">
                      <a:solidFill>
                        <a:srgbClr val="1E35BF"/>
                      </a:solidFill>
                      <a:prstDash val="solid"/>
                      <a:miter lim="800000"/>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solidFill>
                      <a:srgbClr val="1E35BF">
                        <a:lumMod val="20000"/>
                        <a:lumOff val="80000"/>
                      </a:srgbClr>
                    </a:solidFill>
                  </a:tcPr>
                </a:tc>
                <a:extLst>
                  <a:ext uri="{0D108BD9-81ED-4DB2-BD59-A6C34878D82A}">
                    <a16:rowId xmlns:a16="http://schemas.microsoft.com/office/drawing/2014/main" val="2713691527"/>
                  </a:ext>
                </a:extLst>
              </a:tr>
              <a:tr h="22883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71755" marR="71755" algn="ctr">
                        <a:lnSpc>
                          <a:spcPts val="1200"/>
                        </a:lnSpc>
                        <a:spcAft>
                          <a:spcPts val="600"/>
                        </a:spcAft>
                        <a:tabLst>
                          <a:tab pos="3744595" algn="r"/>
                        </a:tabLst>
                      </a:pPr>
                      <a:r>
                        <a:rPr lang="en-US" sz="900" b="1">
                          <a:effectLst/>
                          <a:latin typeface="Arial"/>
                          <a:ea typeface="Arial Unicode MS"/>
                          <a:cs typeface="Times New Roman"/>
                        </a:rPr>
                        <a:t>Overall Interventions</a:t>
                      </a:r>
                      <a:endParaRPr lang="en-GB" sz="900">
                        <a:effectLst/>
                        <a:latin typeface="Arial"/>
                        <a:ea typeface="Times New Roman" panose="02020603050405020304" pitchFamily="18" charset="0"/>
                        <a:cs typeface="Times New Roman"/>
                      </a:endParaRPr>
                    </a:p>
                    <a:p>
                      <a:pPr algn="ctr">
                        <a:lnSpc>
                          <a:spcPts val="1200"/>
                        </a:lnSpc>
                        <a:spcAft>
                          <a:spcPts val="600"/>
                        </a:spcAft>
                        <a:tabLst>
                          <a:tab pos="3744595" algn="r"/>
                        </a:tabLst>
                      </a:pPr>
                      <a:endParaRPr lang="en-GB" sz="900">
                        <a:effectLst/>
                        <a:latin typeface="Arial"/>
                        <a:ea typeface="Times New Roman" panose="02020603050405020304" pitchFamily="18" charset="0"/>
                        <a:cs typeface="Times New Roman"/>
                      </a:endParaRPr>
                    </a:p>
                  </a:txBody>
                  <a:tcPr marL="68580" marR="68580" marT="0" marB="0" vert="vert270" anchor="b">
                    <a:lnL w="6350" cap="flat" cmpd="sng" algn="ctr">
                      <a:solidFill>
                        <a:srgbClr val="1E35BF"/>
                      </a:solidFill>
                      <a:prstDash val="solid"/>
                      <a:miter lim="800000"/>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lvl="0" indent="-342900">
                        <a:lnSpc>
                          <a:spcPts val="1200"/>
                        </a:lnSpc>
                        <a:spcAft>
                          <a:spcPts val="600"/>
                        </a:spcAft>
                        <a:buFont typeface="Symbol" panose="05050102010706020507" pitchFamily="18" charset="2"/>
                        <a:buChar char=""/>
                        <a:tabLst>
                          <a:tab pos="3744595" algn="r"/>
                        </a:tabLst>
                      </a:pPr>
                      <a:r>
                        <a:rPr lang="en-US" sz="900">
                          <a:effectLst/>
                          <a:latin typeface="Arial"/>
                          <a:ea typeface="Arial Unicode MS"/>
                          <a:cs typeface="Times New Roman"/>
                        </a:rPr>
                        <a:t>Execute approved run off plan</a:t>
                      </a:r>
                    </a:p>
                    <a:p>
                      <a:pPr marL="342900" lvl="0" indent="-342900">
                        <a:lnSpc>
                          <a:spcPts val="1200"/>
                        </a:lnSpc>
                        <a:spcAft>
                          <a:spcPts val="600"/>
                        </a:spcAft>
                        <a:buFont typeface="Symbol" panose="05050102010706020507" pitchFamily="18" charset="2"/>
                        <a:buChar char=""/>
                      </a:pPr>
                      <a:r>
                        <a:rPr lang="en-US" sz="900">
                          <a:effectLst/>
                          <a:latin typeface="Arial"/>
                          <a:ea typeface="Times New Roman" panose="02020603050405020304" pitchFamily="18" charset="0"/>
                          <a:cs typeface="Times New Roman"/>
                        </a:rPr>
                        <a:t>Appoint new Managing Agent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p>
                      <a:pPr marL="24130">
                        <a:lnSpc>
                          <a:spcPts val="1200"/>
                        </a:lnSpc>
                        <a:spcAft>
                          <a:spcPts val="600"/>
                        </a:spcAft>
                        <a:tabLst>
                          <a:tab pos="3744595" algn="r"/>
                        </a:tabLst>
                      </a:pPr>
                      <a:endParaRPr lang="en-GB" sz="900">
                        <a:effectLst/>
                        <a:latin typeface="Arial"/>
                        <a:ea typeface="Times New Roman" panose="02020603050405020304" pitchFamily="18" charset="0"/>
                        <a:cs typeface="Times New Roman"/>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Arial Unicode MS"/>
                          <a:cs typeface="Times New Roman"/>
                        </a:rPr>
                        <a:t>Instruct independent reviews </a:t>
                      </a:r>
                      <a:endParaRPr lang="en-US" sz="900">
                        <a:effectLst/>
                        <a:latin typeface="Arial" panose="020B0604020202020204" pitchFamily="34" charset="0"/>
                        <a:ea typeface="Arial Unicode MS"/>
                        <a:cs typeface="Times New Roman" panose="02020603050405020304" pitchFamily="18" charset="0"/>
                      </a:endParaRP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Arial Unicode MS"/>
                          <a:cs typeface="Times New Roman"/>
                        </a:rPr>
                        <a:t>Remediation plan in place, with senior management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Arial" panose="020B0604020202020204" pitchFamily="34" charset="0"/>
                          <a:cs typeface="Arial"/>
                        </a:rPr>
                        <a:t>Quarterly check-in with Board on progress against remediation plan </a:t>
                      </a: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i="0">
                          <a:solidFill>
                            <a:srgbClr val="000000"/>
                          </a:solidFill>
                          <a:effectLst/>
                          <a:latin typeface="Arial"/>
                          <a:ea typeface="Times New Roman" panose="02020603050405020304" pitchFamily="18" charset="0"/>
                          <a:cs typeface="Times New Roman"/>
                        </a:rPr>
                        <a:t>Regulators notified </a:t>
                      </a:r>
                      <a:endParaRPr lang="en-US" sz="900" i="0">
                        <a:effectLst/>
                        <a:latin typeface="Arial" panose="020B0604020202020204" pitchFamily="34" charset="0"/>
                        <a:ea typeface="Arial Unicode MS"/>
                        <a:cs typeface="Times New Roman" panose="02020603050405020304" pitchFamily="18" charset="0"/>
                      </a:endParaRP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Arial Unicode MS"/>
                          <a:cs typeface="Times New Roman"/>
                        </a:rPr>
                        <a:t>Restrict development, subject to completion of remedial actions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a:effectLst/>
                          <a:latin typeface="Arial"/>
                          <a:ea typeface="Arial Unicode MS"/>
                          <a:cs typeface="Times New Roman"/>
                        </a:rPr>
                        <a:t>Increased frequency of Principles attestations</a:t>
                      </a:r>
                      <a:endParaRPr lang="en-GB" sz="900">
                        <a:effectLst/>
                        <a:latin typeface="Arial"/>
                        <a:ea typeface="Times New Roman" panose="02020603050405020304" pitchFamily="18" charset="0"/>
                        <a:cs typeface="Times New Roman"/>
                      </a:endParaRPr>
                    </a:p>
                    <a:p>
                      <a:pPr marL="342900" lvl="0" indent="-342900">
                        <a:lnSpc>
                          <a:spcPts val="1200"/>
                        </a:lnSpc>
                        <a:buFont typeface="Symbol" panose="05050102010706020507" pitchFamily="18" charset="2"/>
                        <a:buChar char=""/>
                        <a:tabLst>
                          <a:tab pos="3744595" algn="r"/>
                        </a:tabLst>
                      </a:pPr>
                      <a:r>
                        <a:rPr lang="en-US" sz="900">
                          <a:effectLst/>
                          <a:latin typeface="Arial"/>
                          <a:ea typeface="Arial" panose="020B0604020202020204" pitchFamily="34" charset="0"/>
                          <a:cs typeface="Arial"/>
                        </a:rPr>
                        <a:t>Increased reporting and escalation to governance Committees</a:t>
                      </a:r>
                      <a:r>
                        <a:rPr lang="en-US" sz="900">
                          <a:effectLst/>
                          <a:latin typeface="Arial"/>
                          <a:ea typeface="Arial Unicode MS"/>
                          <a:cs typeface="Times New Roman"/>
                        </a:rPr>
                        <a:t> </a:t>
                      </a:r>
                    </a:p>
                    <a:p>
                      <a:pPr marL="342900" lvl="0" indent="-342900">
                        <a:lnSpc>
                          <a:spcPts val="1200"/>
                        </a:lnSpc>
                        <a:buFont typeface="Symbol" panose="05050102010706020507" pitchFamily="18" charset="2"/>
                        <a:buChar char=""/>
                      </a:pPr>
                      <a:r>
                        <a:rPr lang="en-US" sz="900">
                          <a:effectLst/>
                          <a:latin typeface="Arial"/>
                          <a:ea typeface="Times New Roman" panose="02020603050405020304" pitchFamily="18" charset="0"/>
                          <a:cs typeface="Times New Roman"/>
                        </a:rPr>
                        <a:t>Contingent run-off plan in place </a:t>
                      </a: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lvl="0" indent="-342900">
                        <a:lnSpc>
                          <a:spcPts val="1200"/>
                        </a:lnSpc>
                        <a:buFont typeface="Symbol" panose="05050102010706020507" pitchFamily="18" charset="2"/>
                        <a:buChar char=""/>
                      </a:pPr>
                      <a:r>
                        <a:rPr lang="en-US" sz="900">
                          <a:effectLst/>
                          <a:latin typeface="Arial"/>
                          <a:ea typeface="Times New Roman" panose="02020603050405020304" pitchFamily="18" charset="0"/>
                          <a:cs typeface="Times New Roman"/>
                        </a:rPr>
                        <a:t>Increased Account Manager and ELG engagement to ensure higher risk areas being remediated  </a:t>
                      </a:r>
                      <a:endParaRPr lang="en-US" sz="900">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Times New Roman" panose="02020603050405020304" pitchFamily="18" charset="0"/>
                          <a:cs typeface="Times New Roman"/>
                        </a:rPr>
                        <a:t>Development only supported in areas where justified </a:t>
                      </a: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a:effectLst/>
                          <a:latin typeface="Arial"/>
                          <a:ea typeface="Times New Roman" panose="02020603050405020304" pitchFamily="18" charset="0"/>
                          <a:cs typeface="Times New Roman"/>
                        </a:rPr>
                        <a:t>New syndicates not supported until higher risk areas remediated </a:t>
                      </a:r>
                    </a:p>
                    <a:p>
                      <a:pPr marL="0" lvl="0" indent="0">
                        <a:lnSpc>
                          <a:spcPts val="1200"/>
                        </a:lnSpc>
                        <a:buFont typeface="Symbol" panose="05050102010706020507" pitchFamily="18" charset="2"/>
                        <a:buNone/>
                        <a:tabLst>
                          <a:tab pos="3744595" algn="r"/>
                        </a:tabLst>
                      </a:pPr>
                      <a:endParaRPr lang="en-GB" sz="9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kern="1200">
                          <a:solidFill>
                            <a:schemeClr val="tx1"/>
                          </a:solidFill>
                          <a:effectLst/>
                          <a:latin typeface="Arial"/>
                          <a:ea typeface="Arial Unicode MS"/>
                          <a:cs typeface="Times New Roman"/>
                        </a:rPr>
                        <a:t>Option for file and use plan if demonstrated to be Logical, Realistic and Achievable </a:t>
                      </a:r>
                      <a:endParaRPr lang="en-US" sz="900" kern="12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Times New Roman" panose="02020603050405020304" pitchFamily="18" charset="0"/>
                          <a:cs typeface="Times New Roman"/>
                        </a:rPr>
                        <a:t>Proactive Development support and Account Management</a:t>
                      </a:r>
                      <a:r>
                        <a:rPr lang="en-US" sz="900" kern="1200">
                          <a:solidFill>
                            <a:schemeClr val="tx1"/>
                          </a:solidFill>
                          <a:effectLst/>
                          <a:latin typeface="Arial"/>
                          <a:ea typeface="Arial Unicode MS"/>
                          <a:cs typeface="Times New Roman"/>
                        </a:rPr>
                        <a:t>, including supporting establishing new syndicates/SPA/SIAB</a:t>
                      </a: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kern="1200">
                          <a:solidFill>
                            <a:schemeClr val="tx1"/>
                          </a:solidFill>
                          <a:effectLst/>
                          <a:latin typeface="Arial"/>
                          <a:ea typeface="Times New Roman" panose="02020603050405020304" pitchFamily="18" charset="0"/>
                          <a:cs typeface="Times New Roman"/>
                        </a:rPr>
                        <a:t>Engagement more weighted towards development than oversight </a:t>
                      </a:r>
                      <a:endParaRPr lang="en-GB" sz="900" kern="12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endParaRPr lang="en-GB" sz="900" kern="12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kern="1200">
                          <a:solidFill>
                            <a:schemeClr val="tx1"/>
                          </a:solidFill>
                          <a:effectLst/>
                          <a:latin typeface="Arial"/>
                          <a:ea typeface="Times New Roman" panose="02020603050405020304" pitchFamily="18" charset="0"/>
                          <a:cs typeface="Times New Roman"/>
                        </a:rPr>
                        <a:t>File and Use business plans (subject to safeguards) </a:t>
                      </a:r>
                      <a:endParaRPr lang="en-US" sz="900" kern="12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Times New Roman" panose="02020603050405020304" pitchFamily="18" charset="0"/>
                          <a:cs typeface="Times New Roman"/>
                        </a:rPr>
                        <a:t>Light capital reviews (subject to safeguards)</a:t>
                      </a: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Arial Unicode MS"/>
                          <a:cs typeface="Times New Roman"/>
                        </a:rPr>
                        <a:t>No New Syndicate Load applied</a:t>
                      </a: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Times New Roman" panose="02020603050405020304" pitchFamily="18" charset="0"/>
                          <a:cs typeface="Times New Roman"/>
                        </a:rPr>
                        <a:t>Proactive Development support and Account Management</a:t>
                      </a:r>
                      <a:r>
                        <a:rPr lang="en-US" sz="900" kern="1200">
                          <a:solidFill>
                            <a:schemeClr val="tx1"/>
                          </a:solidFill>
                          <a:effectLst/>
                          <a:latin typeface="Arial"/>
                          <a:ea typeface="Arial Unicode MS"/>
                          <a:cs typeface="Times New Roman"/>
                        </a:rPr>
                        <a:t>, including supporting establishing new syndicates/SPA/SIAB</a:t>
                      </a: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Times New Roman" panose="02020603050405020304" pitchFamily="18" charset="0"/>
                          <a:cs typeface="Times New Roman"/>
                        </a:rPr>
                        <a:t>Cat Risk Appetite “Flex” permitted – more generous </a:t>
                      </a:r>
                      <a:r>
                        <a:rPr lang="en-US" sz="900" kern="1200" err="1">
                          <a:solidFill>
                            <a:schemeClr val="tx1"/>
                          </a:solidFill>
                          <a:effectLst/>
                          <a:latin typeface="Arial"/>
                          <a:ea typeface="Times New Roman" panose="02020603050405020304" pitchFamily="18" charset="0"/>
                          <a:cs typeface="Times New Roman"/>
                        </a:rPr>
                        <a:t>capitalisation</a:t>
                      </a:r>
                      <a:r>
                        <a:rPr lang="en-US" sz="900" kern="1200">
                          <a:solidFill>
                            <a:schemeClr val="tx1"/>
                          </a:solidFill>
                          <a:effectLst/>
                          <a:latin typeface="Arial"/>
                          <a:ea typeface="Times New Roman" panose="02020603050405020304" pitchFamily="18" charset="0"/>
                          <a:cs typeface="Times New Roman"/>
                        </a:rPr>
                        <a:t> rates in terms of any LCM5 CRA year-on-year growth</a:t>
                      </a: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Times New Roman" panose="02020603050405020304" pitchFamily="18" charset="0"/>
                          <a:cs typeface="Times New Roman"/>
                        </a:rPr>
                        <a:t>Reduced involvement in thematic review except where best practice view is desired</a:t>
                      </a:r>
                      <a:endParaRPr lang="en-GB" sz="900" kern="1200">
                        <a:solidFill>
                          <a:schemeClr val="tx1"/>
                        </a:solidFill>
                        <a:effectLst/>
                        <a:latin typeface="Arial"/>
                        <a:ea typeface="Times New Roman" panose="02020603050405020304" pitchFamily="18" charset="0"/>
                        <a:cs typeface="Times New Roman"/>
                      </a:endParaRPr>
                    </a:p>
                    <a:p>
                      <a:pPr marL="342900" marR="0" lvl="0" indent="-342900" algn="l" rtl="0" eaLnBrk="1" fontAlgn="auto" latinLnBrk="0" hangingPunct="1">
                        <a:lnSpc>
                          <a:spcPts val="1200"/>
                        </a:lnSpc>
                        <a:spcBef>
                          <a:spcPts val="0"/>
                        </a:spcBef>
                        <a:spcAft>
                          <a:spcPts val="0"/>
                        </a:spcAft>
                        <a:buClrTx/>
                        <a:buSzTx/>
                        <a:buFont typeface="Symbol" panose="05050102010706020507" pitchFamily="18" charset="2"/>
                        <a:buChar char=""/>
                      </a:pPr>
                      <a:r>
                        <a:rPr lang="en-US" sz="900" kern="1200">
                          <a:solidFill>
                            <a:schemeClr val="tx1"/>
                          </a:solidFill>
                          <a:effectLst/>
                          <a:latin typeface="Arial"/>
                          <a:ea typeface="Times New Roman" panose="02020603050405020304" pitchFamily="18" charset="0"/>
                          <a:cs typeface="Times New Roman"/>
                        </a:rPr>
                        <a:t>Inclusion of managing agents in key working groups which shape the market </a:t>
                      </a:r>
                    </a:p>
                    <a:p>
                      <a:pPr marL="342900" marR="0" lvl="0" indent="-342900" algn="l" defTabSz="914400" rtl="0" eaLnBrk="1" fontAlgn="auto" latinLnBrk="0" hangingPunct="1">
                        <a:lnSpc>
                          <a:spcPts val="1200"/>
                        </a:lnSpc>
                        <a:spcBef>
                          <a:spcPts val="0"/>
                        </a:spcBef>
                        <a:spcAft>
                          <a:spcPts val="0"/>
                        </a:spcAft>
                        <a:buClrTx/>
                        <a:buSzTx/>
                        <a:buFont typeface="Symbol" panose="05050102010706020507" pitchFamily="18" charset="2"/>
                        <a:buChar char=""/>
                        <a:tabLst>
                          <a:tab pos="3744595" algn="r"/>
                        </a:tabLst>
                        <a:defRPr/>
                      </a:pPr>
                      <a:r>
                        <a:rPr lang="en-US" sz="900" kern="1200">
                          <a:solidFill>
                            <a:schemeClr val="tx1"/>
                          </a:solidFill>
                          <a:effectLst/>
                          <a:latin typeface="Arial"/>
                          <a:ea typeface="Arial Unicode MS"/>
                          <a:cs typeface="Times New Roman"/>
                        </a:rPr>
                        <a:t>Promote in external campaigns</a:t>
                      </a:r>
                    </a:p>
                  </a:txBody>
                  <a:tcPr marL="68580" marR="68580" marT="0" marB="0">
                    <a:lnL>
                      <a:noFill/>
                    </a:lnL>
                    <a:lnR w="6350" cap="flat" cmpd="sng" algn="ctr">
                      <a:solidFill>
                        <a:srgbClr val="1E35BF"/>
                      </a:solidFill>
                      <a:prstDash val="solid"/>
                      <a:miter lim="800000"/>
                    </a:lnR>
                    <a:lnT w="6350" cap="flat" cmpd="sng" algn="ctr">
                      <a:solidFill>
                        <a:srgbClr val="1E35BF"/>
                      </a:solidFill>
                      <a:prstDash val="solid"/>
                      <a:miter lim="800000"/>
                    </a:lnT>
                    <a:lnB w="6350" cap="flat" cmpd="sng" algn="ctr">
                      <a:solidFill>
                        <a:srgbClr val="1E35BF"/>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2379543843"/>
                  </a:ext>
                </a:extLst>
              </a:tr>
            </a:tbl>
          </a:graphicData>
        </a:graphic>
      </p:graphicFrame>
      <p:sp>
        <p:nvSpPr>
          <p:cNvPr id="6" name="Arrow: Left-Right 5">
            <a:extLst>
              <a:ext uri="{FF2B5EF4-FFF2-40B4-BE49-F238E27FC236}">
                <a16:creationId xmlns:a16="http://schemas.microsoft.com/office/drawing/2014/main" id="{658B0C3D-C9B1-4BD8-A628-8AD0C512B49B}"/>
              </a:ext>
            </a:extLst>
          </p:cNvPr>
          <p:cNvSpPr/>
          <p:nvPr/>
        </p:nvSpPr>
        <p:spPr>
          <a:xfrm>
            <a:off x="492117" y="1494150"/>
            <a:ext cx="11160124" cy="276999"/>
          </a:xfrm>
          <a:prstGeom prst="leftRightArrow">
            <a:avLst>
              <a:gd name="adj1" fmla="val 73284"/>
              <a:gd name="adj2"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A5E10313-B27A-488F-8333-8BC7105CE433}"/>
              </a:ext>
            </a:extLst>
          </p:cNvPr>
          <p:cNvSpPr txBox="1"/>
          <p:nvPr/>
        </p:nvSpPr>
        <p:spPr>
          <a:xfrm>
            <a:off x="1208054" y="1521693"/>
            <a:ext cx="242245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a:ln>
                  <a:noFill/>
                </a:ln>
                <a:solidFill>
                  <a:prstClr val="black"/>
                </a:solidFill>
                <a:effectLst/>
                <a:uLnTx/>
                <a:uFillTx/>
                <a:latin typeface="Arial"/>
                <a:ea typeface="+mn-ea"/>
                <a:cs typeface="+mn-cs"/>
              </a:rPr>
              <a:t>Robust intervention for underperformers</a:t>
            </a:r>
          </a:p>
        </p:txBody>
      </p:sp>
      <p:sp>
        <p:nvSpPr>
          <p:cNvPr id="8" name="TextBox 7">
            <a:extLst>
              <a:ext uri="{FF2B5EF4-FFF2-40B4-BE49-F238E27FC236}">
                <a16:creationId xmlns:a16="http://schemas.microsoft.com/office/drawing/2014/main" id="{26A6BC82-93A1-41DC-BDBB-691928283976}"/>
              </a:ext>
            </a:extLst>
          </p:cNvPr>
          <p:cNvSpPr txBox="1"/>
          <p:nvPr/>
        </p:nvSpPr>
        <p:spPr>
          <a:xfrm>
            <a:off x="8596271" y="1521693"/>
            <a:ext cx="2301649" cy="2308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1" i="1" u="none" strike="noStrike" kern="1200" cap="none" spc="0" normalizeH="0" baseline="0" noProof="0">
                <a:ln>
                  <a:noFill/>
                </a:ln>
                <a:solidFill>
                  <a:prstClr val="black"/>
                </a:solidFill>
                <a:effectLst/>
                <a:uLnTx/>
                <a:uFillTx/>
                <a:latin typeface="Arial"/>
                <a:ea typeface="+mn-ea"/>
                <a:cs typeface="+mn-cs"/>
              </a:rPr>
              <a:t>Development encouraged for the best</a:t>
            </a:r>
          </a:p>
        </p:txBody>
      </p:sp>
    </p:spTree>
    <p:extLst>
      <p:ext uri="{BB962C8B-B14F-4D97-AF65-F5344CB8AC3E}">
        <p14:creationId xmlns:p14="http://schemas.microsoft.com/office/powerpoint/2010/main" val="11039654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9043554" cy="1454041"/>
          </a:xfrm>
        </p:spPr>
        <p:txBody>
          <a:bodyPr/>
          <a:lstStyle/>
          <a:p>
            <a:r>
              <a:rPr lang="en-GB"/>
              <a:t>Oversight Framework: </a:t>
            </a:r>
          </a:p>
          <a:p>
            <a:r>
              <a:rPr lang="en-GB" sz="2800" b="0" i="1"/>
              <a:t>How will it work for outwards reinsurance?</a:t>
            </a:r>
          </a:p>
          <a:p>
            <a:endParaRPr lang="en-GB"/>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vert="horz" lIns="0" tIns="0" rIns="0" bIns="0" rtlCol="0" anchor="t">
            <a:noAutofit/>
          </a:bodyPr>
          <a:lstStyle/>
          <a:p>
            <a:r>
              <a:rPr lang="en-GB">
                <a:cs typeface="Arial"/>
              </a:rPr>
              <a:t>Keely Edwards</a:t>
            </a:r>
            <a:endParaRPr lang="en-GB">
              <a:highlight>
                <a:srgbClr val="FFFF00"/>
              </a:highlight>
            </a:endParaRPr>
          </a:p>
        </p:txBody>
      </p:sp>
    </p:spTree>
    <p:extLst>
      <p:ext uri="{BB962C8B-B14F-4D97-AF65-F5344CB8AC3E}">
        <p14:creationId xmlns:p14="http://schemas.microsoft.com/office/powerpoint/2010/main" val="3895678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AEDC8-44A9-4A6E-989E-7D05EF2CDA7A}"/>
              </a:ext>
            </a:extLst>
          </p:cNvPr>
          <p:cNvSpPr>
            <a:spLocks noGrp="1"/>
          </p:cNvSpPr>
          <p:nvPr>
            <p:ph type="title"/>
          </p:nvPr>
        </p:nvSpPr>
        <p:spPr/>
        <p:txBody>
          <a:bodyPr/>
          <a:lstStyle/>
          <a:p>
            <a:r>
              <a:rPr lang="en-GB"/>
              <a:t>Oversight Framework – Outwards Reinsurance </a:t>
            </a:r>
          </a:p>
        </p:txBody>
      </p:sp>
      <p:sp>
        <p:nvSpPr>
          <p:cNvPr id="3" name="Text Placeholder 2">
            <a:extLst>
              <a:ext uri="{FF2B5EF4-FFF2-40B4-BE49-F238E27FC236}">
                <a16:creationId xmlns:a16="http://schemas.microsoft.com/office/drawing/2014/main" id="{C3C99BF9-554C-4A92-97E7-BF3B4EA6A5A9}"/>
              </a:ext>
            </a:extLst>
          </p:cNvPr>
          <p:cNvSpPr>
            <a:spLocks noGrp="1"/>
          </p:cNvSpPr>
          <p:nvPr>
            <p:ph type="body" sz="quarter" idx="16"/>
          </p:nvPr>
        </p:nvSpPr>
        <p:spPr/>
        <p:txBody>
          <a:bodyPr/>
          <a:lstStyle/>
          <a:p>
            <a:endParaRPr lang="en-GB"/>
          </a:p>
        </p:txBody>
      </p:sp>
      <p:sp>
        <p:nvSpPr>
          <p:cNvPr id="4" name="Text Placeholder 3">
            <a:extLst>
              <a:ext uri="{FF2B5EF4-FFF2-40B4-BE49-F238E27FC236}">
                <a16:creationId xmlns:a16="http://schemas.microsoft.com/office/drawing/2014/main" id="{43C73384-4BAC-4588-B517-DBB5009D89D1}"/>
              </a:ext>
            </a:extLst>
          </p:cNvPr>
          <p:cNvSpPr>
            <a:spLocks noGrp="1"/>
          </p:cNvSpPr>
          <p:nvPr>
            <p:ph type="body" sz="quarter" idx="17"/>
          </p:nvPr>
        </p:nvSpPr>
        <p:spPr>
          <a:xfrm>
            <a:off x="533400" y="1100138"/>
            <a:ext cx="11160125" cy="307777"/>
          </a:xfrm>
        </p:spPr>
        <p:txBody>
          <a:bodyPr vert="horz" lIns="0" tIns="0" rIns="0" bIns="0" rtlCol="0" anchor="t">
            <a:spAutoFit/>
          </a:bodyPr>
          <a:lstStyle/>
          <a:p>
            <a:r>
              <a:rPr lang="en-GB">
                <a:solidFill>
                  <a:schemeClr val="accent3"/>
                </a:solidFill>
              </a:rPr>
              <a:t>What risk are we managing? </a:t>
            </a:r>
          </a:p>
        </p:txBody>
      </p:sp>
      <p:sp>
        <p:nvSpPr>
          <p:cNvPr id="5" name="TextBox 4">
            <a:extLst>
              <a:ext uri="{FF2B5EF4-FFF2-40B4-BE49-F238E27FC236}">
                <a16:creationId xmlns:a16="http://schemas.microsoft.com/office/drawing/2014/main" id="{011F88EA-5C81-4D2E-887F-A3976AC7C0FA}"/>
              </a:ext>
            </a:extLst>
          </p:cNvPr>
          <p:cNvSpPr txBox="1"/>
          <p:nvPr/>
        </p:nvSpPr>
        <p:spPr>
          <a:xfrm>
            <a:off x="722168" y="1897207"/>
            <a:ext cx="5081154" cy="3970318"/>
          </a:xfrm>
          <a:prstGeom prst="rect">
            <a:avLst/>
          </a:prstGeom>
          <a:noFill/>
        </p:spPr>
        <p:txBody>
          <a:bodyPr wrap="square" lIns="91440" tIns="45720" rIns="91440" bIns="45720" rtlCol="0" anchor="t">
            <a:spAutoFit/>
          </a:bodyPr>
          <a:lstStyle/>
          <a:p>
            <a:pPr marL="285750" indent="-285750">
              <a:buFont typeface="Arial"/>
              <a:buChar char="•"/>
            </a:pPr>
            <a:r>
              <a:rPr lang="en-GB" sz="1400" b="1" dirty="0">
                <a:solidFill>
                  <a:schemeClr val="accent3"/>
                </a:solidFill>
                <a:ea typeface="+mn-lt"/>
                <a:cs typeface="+mn-lt"/>
              </a:rPr>
              <a:t>The aim of Lloyd’s, and the Outwards Reinsurance team, is to understand the risks to Lloyd’s and individual syndicates arising from the scale, nature, quality and concentration of reinsurance purchased by syndicates.</a:t>
            </a:r>
            <a:endParaRPr lang="en-US" dirty="0">
              <a:solidFill>
                <a:schemeClr val="accent3"/>
              </a:solidFill>
              <a:cs typeface="Arial"/>
            </a:endParaRPr>
          </a:p>
          <a:p>
            <a:pPr marL="285750" indent="-285750" algn="l">
              <a:buFont typeface="Arial"/>
              <a:buChar char="•"/>
            </a:pPr>
            <a:endParaRPr lang="en-GB" sz="1400">
              <a:solidFill>
                <a:schemeClr val="accent3"/>
              </a:solidFill>
              <a:cs typeface="Arial"/>
            </a:endParaRPr>
          </a:p>
          <a:p>
            <a:pPr marL="285750" indent="-285750">
              <a:buFont typeface="Arial"/>
              <a:buChar char="•"/>
            </a:pPr>
            <a:r>
              <a:rPr lang="en-GB" sz="1400" b="1" dirty="0">
                <a:solidFill>
                  <a:schemeClr val="accent3"/>
                </a:solidFill>
                <a:ea typeface="+mn-lt"/>
                <a:cs typeface="+mn-lt"/>
              </a:rPr>
              <a:t>We want to minimise the likelihood of reinsurance failure and avoid any undue risk to Lloyd’s performance and solvency position, and protect Lloyd’s Financial Strength Rating.  </a:t>
            </a:r>
            <a:endParaRPr lang="en-GB" sz="1400" b="1" dirty="0">
              <a:solidFill>
                <a:schemeClr val="accent3"/>
              </a:solidFill>
              <a:cs typeface="Arial"/>
            </a:endParaRPr>
          </a:p>
          <a:p>
            <a:pPr marL="285750" indent="-285750">
              <a:buFont typeface="Arial"/>
              <a:buChar char="•"/>
            </a:pPr>
            <a:endParaRPr lang="en-GB" sz="1400" b="1">
              <a:solidFill>
                <a:schemeClr val="accent3"/>
              </a:solidFill>
              <a:ea typeface="+mn-lt"/>
              <a:cs typeface="+mn-lt"/>
            </a:endParaRPr>
          </a:p>
          <a:p>
            <a:pPr marL="285750" indent="-285750">
              <a:buFont typeface="Arial"/>
              <a:buChar char="•"/>
            </a:pPr>
            <a:r>
              <a:rPr lang="en-GB" sz="1400" b="1" dirty="0">
                <a:solidFill>
                  <a:schemeClr val="accent3"/>
                </a:solidFill>
                <a:ea typeface="+mn-lt"/>
                <a:cs typeface="+mn-lt"/>
              </a:rPr>
              <a:t>Outwards reinsurance is not a ‘risk-free’ transaction and we would expect syndicates to have effective management and control processes, appropriate for their level of reinsurance risk. This has led to the four sub-principles. </a:t>
            </a:r>
            <a:endParaRPr lang="en-GB" dirty="0">
              <a:solidFill>
                <a:schemeClr val="accent3"/>
              </a:solidFill>
              <a:cs typeface="Arial"/>
            </a:endParaRPr>
          </a:p>
          <a:p>
            <a:pPr algn="l"/>
            <a:endParaRPr lang="en-GB" sz="1400" b="1">
              <a:solidFill>
                <a:schemeClr val="accent3"/>
              </a:solidFill>
              <a:cs typeface="Arial"/>
            </a:endParaRPr>
          </a:p>
          <a:p>
            <a:pPr algn="l"/>
            <a:endParaRPr lang="en-GB" sz="1400" b="1">
              <a:solidFill>
                <a:schemeClr val="accent3"/>
              </a:solidFill>
            </a:endParaRPr>
          </a:p>
        </p:txBody>
      </p:sp>
      <p:pic>
        <p:nvPicPr>
          <p:cNvPr id="8" name="Picture 8" descr="Text&#10;&#10;Description automatically generated">
            <a:extLst>
              <a:ext uri="{FF2B5EF4-FFF2-40B4-BE49-F238E27FC236}">
                <a16:creationId xmlns:a16="http://schemas.microsoft.com/office/drawing/2014/main" id="{EB4731CE-7602-4E74-9255-D70A863A41D1}"/>
              </a:ext>
            </a:extLst>
          </p:cNvPr>
          <p:cNvPicPr>
            <a:picLocks noChangeAspect="1"/>
          </p:cNvPicPr>
          <p:nvPr/>
        </p:nvPicPr>
        <p:blipFill>
          <a:blip r:embed="rId2"/>
          <a:stretch>
            <a:fillRect/>
          </a:stretch>
        </p:blipFill>
        <p:spPr>
          <a:xfrm>
            <a:off x="6248400" y="1895522"/>
            <a:ext cx="5410199" cy="3075614"/>
          </a:xfrm>
          <a:prstGeom prst="rect">
            <a:avLst/>
          </a:prstGeom>
        </p:spPr>
      </p:pic>
      <p:pic>
        <p:nvPicPr>
          <p:cNvPr id="7" name="Picture 6">
            <a:extLst>
              <a:ext uri="{FF2B5EF4-FFF2-40B4-BE49-F238E27FC236}">
                <a16:creationId xmlns:a16="http://schemas.microsoft.com/office/drawing/2014/main" id="{5469FED8-7F2A-4BE1-8079-1D625FB2F2E6}"/>
              </a:ext>
            </a:extLst>
          </p:cNvPr>
          <p:cNvPicPr>
            <a:picLocks noChangeAspect="1"/>
          </p:cNvPicPr>
          <p:nvPr/>
        </p:nvPicPr>
        <p:blipFill>
          <a:blip r:embed="rId3"/>
          <a:stretch>
            <a:fillRect/>
          </a:stretch>
        </p:blipFill>
        <p:spPr>
          <a:xfrm>
            <a:off x="9531863" y="68082"/>
            <a:ext cx="2520475" cy="1372884"/>
          </a:xfrm>
          <a:prstGeom prst="rect">
            <a:avLst/>
          </a:prstGeom>
        </p:spPr>
      </p:pic>
      <p:sp>
        <p:nvSpPr>
          <p:cNvPr id="9" name="Oval 8">
            <a:extLst>
              <a:ext uri="{FF2B5EF4-FFF2-40B4-BE49-F238E27FC236}">
                <a16:creationId xmlns:a16="http://schemas.microsoft.com/office/drawing/2014/main" id="{64522648-1B86-4DAE-94E4-21A0F56AB682}"/>
              </a:ext>
            </a:extLst>
          </p:cNvPr>
          <p:cNvSpPr/>
          <p:nvPr/>
        </p:nvSpPr>
        <p:spPr>
          <a:xfrm>
            <a:off x="11210924" y="605932"/>
            <a:ext cx="841413" cy="40069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Tree>
    <p:extLst>
      <p:ext uri="{BB962C8B-B14F-4D97-AF65-F5344CB8AC3E}">
        <p14:creationId xmlns:p14="http://schemas.microsoft.com/office/powerpoint/2010/main" val="19168235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 - Outwards Reinsurance</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vert="horz" lIns="0" tIns="0" rIns="0" bIns="0" rtlCol="0" anchor="t">
            <a:spAutoFit/>
          </a:bodyPr>
          <a:lstStyle/>
          <a:p>
            <a:r>
              <a:rPr lang="en-GB" sz="1800">
                <a:solidFill>
                  <a:schemeClr val="accent3"/>
                </a:solidFill>
              </a:rPr>
              <a:t>Calculating Materiality and defining expected Maturity </a:t>
            </a:r>
            <a:endParaRPr lang="en-GB" sz="1800">
              <a:solidFill>
                <a:schemeClr val="accent3"/>
              </a:solidFill>
              <a:highlight>
                <a:srgbClr val="00FFFF"/>
              </a:highlight>
            </a:endParaRPr>
          </a:p>
        </p:txBody>
      </p:sp>
      <p:graphicFrame>
        <p:nvGraphicFramePr>
          <p:cNvPr id="3" name="Table 2">
            <a:extLst>
              <a:ext uri="{FF2B5EF4-FFF2-40B4-BE49-F238E27FC236}">
                <a16:creationId xmlns:a16="http://schemas.microsoft.com/office/drawing/2014/main" id="{2535D99F-0276-4B4D-A87D-3B1A9C547839}"/>
              </a:ext>
            </a:extLst>
          </p:cNvPr>
          <p:cNvGraphicFramePr>
            <a:graphicFrameLocks noGrp="1"/>
          </p:cNvGraphicFramePr>
          <p:nvPr>
            <p:extLst>
              <p:ext uri="{D42A27DB-BD31-4B8C-83A1-F6EECF244321}">
                <p14:modId xmlns:p14="http://schemas.microsoft.com/office/powerpoint/2010/main" val="3903678037"/>
              </p:ext>
            </p:extLst>
          </p:nvPr>
        </p:nvGraphicFramePr>
        <p:xfrm>
          <a:off x="544740" y="1488685"/>
          <a:ext cx="10205091" cy="2654330"/>
        </p:xfrm>
        <a:graphic>
          <a:graphicData uri="http://schemas.openxmlformats.org/drawingml/2006/table">
            <a:tbl>
              <a:tblPr firstRow="1" bandRow="1">
                <a:tableStyleId>{7E9639D4-E3E2-4D34-9284-5A2195B3D0D7}</a:tableStyleId>
              </a:tblPr>
              <a:tblGrid>
                <a:gridCol w="1021770">
                  <a:extLst>
                    <a:ext uri="{9D8B030D-6E8A-4147-A177-3AD203B41FA5}">
                      <a16:colId xmlns:a16="http://schemas.microsoft.com/office/drawing/2014/main" val="4004501634"/>
                    </a:ext>
                  </a:extLst>
                </a:gridCol>
                <a:gridCol w="4277591">
                  <a:extLst>
                    <a:ext uri="{9D8B030D-6E8A-4147-A177-3AD203B41FA5}">
                      <a16:colId xmlns:a16="http://schemas.microsoft.com/office/drawing/2014/main" val="691224443"/>
                    </a:ext>
                  </a:extLst>
                </a:gridCol>
                <a:gridCol w="1246907">
                  <a:extLst>
                    <a:ext uri="{9D8B030D-6E8A-4147-A177-3AD203B41FA5}">
                      <a16:colId xmlns:a16="http://schemas.microsoft.com/office/drawing/2014/main" val="3923410715"/>
                    </a:ext>
                  </a:extLst>
                </a:gridCol>
                <a:gridCol w="1316180">
                  <a:extLst>
                    <a:ext uri="{9D8B030D-6E8A-4147-A177-3AD203B41FA5}">
                      <a16:colId xmlns:a16="http://schemas.microsoft.com/office/drawing/2014/main" val="1393238942"/>
                    </a:ext>
                  </a:extLst>
                </a:gridCol>
                <a:gridCol w="1215556">
                  <a:extLst>
                    <a:ext uri="{9D8B030D-6E8A-4147-A177-3AD203B41FA5}">
                      <a16:colId xmlns:a16="http://schemas.microsoft.com/office/drawing/2014/main" val="2807634468"/>
                    </a:ext>
                  </a:extLst>
                </a:gridCol>
                <a:gridCol w="1127087">
                  <a:extLst>
                    <a:ext uri="{9D8B030D-6E8A-4147-A177-3AD203B41FA5}">
                      <a16:colId xmlns:a16="http://schemas.microsoft.com/office/drawing/2014/main" val="567682167"/>
                    </a:ext>
                  </a:extLst>
                </a:gridCol>
              </a:tblGrid>
              <a:tr h="311424">
                <a:tc>
                  <a:txBody>
                    <a:bodyPr/>
                    <a:lstStyle/>
                    <a:p>
                      <a:r>
                        <a:rPr lang="en-GB" sz="1200">
                          <a:latin typeface="+mn-lt"/>
                        </a:rPr>
                        <a:t>Dimension </a:t>
                      </a:r>
                    </a:p>
                  </a:txBody>
                  <a:tcPr>
                    <a:solidFill>
                      <a:schemeClr val="accent1"/>
                    </a:solidFill>
                  </a:tcPr>
                </a:tc>
                <a:tc>
                  <a:txBody>
                    <a:bodyPr/>
                    <a:lstStyle/>
                    <a:p>
                      <a:r>
                        <a:rPr lang="en-GB" sz="1200">
                          <a:latin typeface="+mn-lt"/>
                        </a:rPr>
                        <a:t>Materiality measure </a:t>
                      </a:r>
                    </a:p>
                  </a:txBody>
                  <a:tcPr>
                    <a:solidFill>
                      <a:schemeClr val="accent1"/>
                    </a:solidFill>
                  </a:tcPr>
                </a:tc>
                <a:tc>
                  <a:txBody>
                    <a:bodyPr/>
                    <a:lstStyle/>
                    <a:p>
                      <a:pPr algn="ctr"/>
                      <a:r>
                        <a:rPr lang="en-GB" sz="1200">
                          <a:latin typeface="+mn-lt"/>
                        </a:rPr>
                        <a:t>Low</a:t>
                      </a:r>
                    </a:p>
                    <a:p>
                      <a:pPr algn="ctr"/>
                      <a:r>
                        <a:rPr lang="en-GB" sz="1200">
                          <a:latin typeface="+mn-lt"/>
                        </a:rPr>
                        <a:t>Foundational</a:t>
                      </a:r>
                    </a:p>
                  </a:txBody>
                  <a:tcPr>
                    <a:solidFill>
                      <a:schemeClr val="accent2">
                        <a:lumMod val="40000"/>
                        <a:lumOff val="60000"/>
                      </a:schemeClr>
                    </a:solidFill>
                  </a:tcPr>
                </a:tc>
                <a:tc>
                  <a:txBody>
                    <a:bodyPr/>
                    <a:lstStyle/>
                    <a:p>
                      <a:pPr algn="ctr"/>
                      <a:r>
                        <a:rPr lang="en-GB" sz="1200">
                          <a:latin typeface="+mn-lt"/>
                        </a:rPr>
                        <a:t>Moderate</a:t>
                      </a:r>
                    </a:p>
                    <a:p>
                      <a:pPr algn="ctr"/>
                      <a:r>
                        <a:rPr lang="en-GB" sz="1200">
                          <a:latin typeface="+mn-lt"/>
                        </a:rPr>
                        <a:t>Intermediate</a:t>
                      </a:r>
                    </a:p>
                  </a:txBody>
                  <a:tcPr>
                    <a:solidFill>
                      <a:schemeClr val="accent2">
                        <a:lumMod val="60000"/>
                        <a:lumOff val="40000"/>
                      </a:schemeClr>
                    </a:solidFill>
                  </a:tcPr>
                </a:tc>
                <a:tc>
                  <a:txBody>
                    <a:bodyPr/>
                    <a:lstStyle/>
                    <a:p>
                      <a:pPr algn="ctr"/>
                      <a:r>
                        <a:rPr lang="en-GB" sz="1200">
                          <a:latin typeface="+mn-lt"/>
                        </a:rPr>
                        <a:t>High</a:t>
                      </a:r>
                    </a:p>
                    <a:p>
                      <a:pPr algn="ctr"/>
                      <a:r>
                        <a:rPr lang="en-GB" sz="1200">
                          <a:latin typeface="+mn-lt"/>
                        </a:rPr>
                        <a:t>Established </a:t>
                      </a:r>
                    </a:p>
                  </a:txBody>
                  <a:tcPr>
                    <a:solidFill>
                      <a:schemeClr val="accent3">
                        <a:lumMod val="75000"/>
                      </a:schemeClr>
                    </a:solidFill>
                  </a:tcPr>
                </a:tc>
                <a:tc>
                  <a:txBody>
                    <a:bodyPr/>
                    <a:lstStyle/>
                    <a:p>
                      <a:pPr algn="ctr"/>
                      <a:r>
                        <a:rPr lang="en-GB" sz="1200">
                          <a:latin typeface="+mn-lt"/>
                        </a:rPr>
                        <a:t>Highest</a:t>
                      </a:r>
                    </a:p>
                    <a:p>
                      <a:pPr algn="ctr"/>
                      <a:r>
                        <a:rPr lang="en-GB" sz="1200">
                          <a:latin typeface="+mn-lt"/>
                        </a:rPr>
                        <a:t>Advanced</a:t>
                      </a:r>
                    </a:p>
                  </a:txBody>
                  <a:tcPr>
                    <a:solidFill>
                      <a:schemeClr val="accent2">
                        <a:lumMod val="75000"/>
                      </a:schemeClr>
                    </a:solidFill>
                  </a:tcPr>
                </a:tc>
                <a:extLst>
                  <a:ext uri="{0D108BD9-81ED-4DB2-BD59-A6C34878D82A}">
                    <a16:rowId xmlns:a16="http://schemas.microsoft.com/office/drawing/2014/main" val="911710112"/>
                  </a:ext>
                </a:extLst>
              </a:tr>
              <a:tr h="337704">
                <a:tc>
                  <a:txBody>
                    <a:bodyPr/>
                    <a:lstStyle/>
                    <a:p>
                      <a:pPr lvl="0" algn="l">
                        <a:lnSpc>
                          <a:spcPct val="100000"/>
                        </a:lnSpc>
                        <a:spcBef>
                          <a:spcPts val="0"/>
                        </a:spcBef>
                        <a:spcAft>
                          <a:spcPts val="0"/>
                        </a:spcAft>
                        <a:buNone/>
                      </a:pPr>
                      <a:r>
                        <a:rPr lang="en-GB" sz="1000" b="0" i="0" u="none" strike="noStrike" noProof="0"/>
                        <a:t>Principle 3:</a:t>
                      </a:r>
                      <a:endParaRPr lang="en-US"/>
                    </a:p>
                  </a:txBody>
                  <a:tcPr anchor="ctr"/>
                </a:tc>
                <a:tc>
                  <a:txBody>
                    <a:bodyPr/>
                    <a:lstStyle/>
                    <a:p>
                      <a:pPr lvl="0" algn="l">
                        <a:lnSpc>
                          <a:spcPct val="100000"/>
                        </a:lnSpc>
                        <a:spcBef>
                          <a:spcPts val="0"/>
                        </a:spcBef>
                        <a:spcAft>
                          <a:spcPts val="0"/>
                        </a:spcAft>
                        <a:buNone/>
                      </a:pPr>
                      <a:r>
                        <a:rPr lang="en-GB" sz="1000" b="0" i="0" u="none" strike="noStrike" kern="1200" noProof="0"/>
                        <a:t>YOA Reinsurance Premium as Percentage of Gross Written Premium</a:t>
                      </a:r>
                      <a:endParaRPr lang="en-US"/>
                    </a:p>
                  </a:txBody>
                  <a:tcPr marL="68580" marR="68580" marT="0" marB="0" anchor="ctr"/>
                </a:tc>
                <a:tc>
                  <a:txBody>
                    <a:bodyPr/>
                    <a:lstStyle/>
                    <a:p>
                      <a:pPr marL="0" marR="0" lvl="0" indent="0" algn="ctr">
                        <a:lnSpc>
                          <a:spcPct val="100000"/>
                        </a:lnSpc>
                        <a:spcBef>
                          <a:spcPts val="0"/>
                        </a:spcBef>
                        <a:spcAft>
                          <a:spcPts val="0"/>
                        </a:spcAft>
                        <a:buClrTx/>
                        <a:buSzTx/>
                        <a:buNone/>
                      </a:pPr>
                      <a:r>
                        <a:rPr lang="en-GB" sz="1000">
                          <a:effectLst/>
                          <a:latin typeface="+mn-lt"/>
                          <a:ea typeface="Calibri" panose="020F0502020204030204" pitchFamily="34" charset="0"/>
                        </a:rPr>
                        <a:t>&lt;40%</a:t>
                      </a:r>
                    </a:p>
                  </a:txBody>
                  <a:tcPr marL="68580" marR="68580" marT="0" marB="0" anchor="ctr">
                    <a:noFill/>
                  </a:tcPr>
                </a:tc>
                <a:tc>
                  <a:txBody>
                    <a:bodyPr/>
                    <a:lstStyle/>
                    <a:p>
                      <a:pPr algn="ctr"/>
                      <a:r>
                        <a:rPr lang="en-GB" sz="1000">
                          <a:effectLst/>
                          <a:latin typeface="+mn-lt"/>
                          <a:ea typeface="Calibri" panose="020F0502020204030204" pitchFamily="34" charset="0"/>
                        </a:rPr>
                        <a:t>&gt;=40%</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50%</a:t>
                      </a:r>
                    </a:p>
                  </a:txBody>
                  <a:tcPr marL="68580" marR="68580" marT="0" marB="0" anchor="ctr">
                    <a:noFill/>
                  </a:tcPr>
                </a:tc>
                <a:tc>
                  <a:txBody>
                    <a:bodyPr/>
                    <a:lstStyle/>
                    <a:p>
                      <a:pPr lvl="0" algn="ctr">
                        <a:buNone/>
                      </a:pPr>
                      <a:r>
                        <a:rPr lang="en-GB" sz="1000" b="0" i="0" u="none" strike="noStrike" noProof="0">
                          <a:effectLst/>
                          <a:latin typeface="Arial"/>
                        </a:rPr>
                        <a:t>&gt;=75%</a:t>
                      </a:r>
                    </a:p>
                  </a:txBody>
                  <a:tcPr marL="68580" marR="68580" marT="0" marB="0" anchor="ctr">
                    <a:noFill/>
                  </a:tcPr>
                </a:tc>
                <a:extLst>
                  <a:ext uri="{0D108BD9-81ED-4DB2-BD59-A6C34878D82A}">
                    <a16:rowId xmlns:a16="http://schemas.microsoft.com/office/drawing/2014/main" val="3675287238"/>
                  </a:ext>
                </a:extLst>
              </a:tr>
              <a:tr h="423537">
                <a:tc>
                  <a:txBody>
                    <a:bodyPr/>
                    <a:lstStyle/>
                    <a:p>
                      <a:pPr lvl="0" algn="l">
                        <a:lnSpc>
                          <a:spcPct val="100000"/>
                        </a:lnSpc>
                        <a:spcBef>
                          <a:spcPts val="0"/>
                        </a:spcBef>
                        <a:spcAft>
                          <a:spcPts val="0"/>
                        </a:spcAft>
                        <a:buNone/>
                      </a:pPr>
                      <a:r>
                        <a:rPr lang="en-GB" sz="1000" b="1" i="0" u="none" strike="noStrike" noProof="0"/>
                        <a:t>Outwards Reinsurance</a:t>
                      </a:r>
                      <a:endParaRPr lang="en-US"/>
                    </a:p>
                  </a:txBody>
                  <a:tcPr anchor="ctr"/>
                </a:tc>
                <a:tc>
                  <a:txBody>
                    <a:bodyPr/>
                    <a:lstStyle/>
                    <a:p>
                      <a:pPr marL="0" lvl="0" indent="0" algn="l">
                        <a:lnSpc>
                          <a:spcPct val="100000"/>
                        </a:lnSpc>
                        <a:spcBef>
                          <a:spcPts val="0"/>
                        </a:spcBef>
                        <a:spcAft>
                          <a:spcPts val="0"/>
                        </a:spcAft>
                        <a:buNone/>
                      </a:pPr>
                      <a:r>
                        <a:rPr lang="en-US" sz="1000" b="0" i="0" u="none" strike="noStrike" kern="1200" noProof="0"/>
                        <a:t>YOA Largest Absolute Maximum Line Size Reinsurance Transfer as percentage of ECA</a:t>
                      </a:r>
                      <a:endParaRPr lang="en-US" sz="1000" kern="1200">
                        <a:solidFill>
                          <a:schemeClr val="tx1"/>
                        </a:solidFill>
                        <a:latin typeface="+mn-lt"/>
                        <a:ea typeface="+mn-ea"/>
                        <a:cs typeface="+mn-cs"/>
                      </a:endParaRPr>
                    </a:p>
                  </a:txBody>
                  <a:tcPr marL="68580" marR="68580" marT="0" marB="0" anchor="ctr"/>
                </a:tc>
                <a:tc>
                  <a:txBody>
                    <a:bodyPr/>
                    <a:lstStyle/>
                    <a:p>
                      <a:pPr marL="0" lvl="0" indent="0" algn="ctr">
                        <a:lnSpc>
                          <a:spcPct val="100000"/>
                        </a:lnSpc>
                        <a:spcBef>
                          <a:spcPts val="0"/>
                        </a:spcBef>
                        <a:spcAft>
                          <a:spcPts val="0"/>
                        </a:spcAft>
                        <a:buNone/>
                      </a:pPr>
                      <a:r>
                        <a:rPr lang="en-GB" sz="1000">
                          <a:effectLst/>
                          <a:latin typeface="+mn-lt"/>
                          <a:ea typeface="Calibri" panose="020F0502020204030204" pitchFamily="34" charset="0"/>
                        </a:rPr>
                        <a:t>&lt;75%</a:t>
                      </a:r>
                    </a:p>
                  </a:txBody>
                  <a:tcPr marL="68580" marR="68580" marT="0" marB="0" anchor="ctr">
                    <a:noFill/>
                  </a:tcPr>
                </a:tc>
                <a:tc>
                  <a:txBody>
                    <a:bodyPr/>
                    <a:lstStyle/>
                    <a:p>
                      <a:pPr lvl="0" algn="ctr">
                        <a:buNone/>
                      </a:pPr>
                      <a:r>
                        <a:rPr lang="en-GB" sz="1000">
                          <a:effectLst/>
                          <a:latin typeface="+mn-lt"/>
                          <a:ea typeface="Calibri" panose="020F0502020204030204" pitchFamily="34" charset="0"/>
                        </a:rPr>
                        <a:t>&gt;=75%</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100%</a:t>
                      </a:r>
                    </a:p>
                  </a:txBody>
                  <a:tcPr marL="68580" marR="68580" marT="0" marB="0" anchor="ctr">
                    <a:noFill/>
                  </a:tcPr>
                </a:tc>
                <a:tc>
                  <a:txBody>
                    <a:bodyPr/>
                    <a:lstStyle/>
                    <a:p>
                      <a:pPr lvl="0" algn="ctr">
                        <a:buNone/>
                      </a:pPr>
                      <a:r>
                        <a:rPr lang="en-GB" sz="1000" b="0" i="0" u="none" strike="noStrike" noProof="0">
                          <a:effectLst/>
                          <a:latin typeface="Arial"/>
                        </a:rPr>
                        <a:t>&gt;=300%</a:t>
                      </a:r>
                    </a:p>
                  </a:txBody>
                  <a:tcPr marL="68580" marR="68580" marT="0" marB="0" anchor="ctr">
                    <a:noFill/>
                  </a:tcPr>
                </a:tc>
                <a:extLst>
                  <a:ext uri="{0D108BD9-81ED-4DB2-BD59-A6C34878D82A}">
                    <a16:rowId xmlns:a16="http://schemas.microsoft.com/office/drawing/2014/main" val="2940001173"/>
                  </a:ext>
                </a:extLst>
              </a:tr>
              <a:tr h="423536">
                <a:tc>
                  <a:txBody>
                    <a:bodyPr/>
                    <a:lstStyle/>
                    <a:p>
                      <a:pPr lvl="0">
                        <a:buNone/>
                      </a:pPr>
                      <a:endParaRPr lang="en-GB" sz="1000" b="1">
                        <a:latin typeface="+mn-lt"/>
                      </a:endParaRPr>
                    </a:p>
                  </a:txBody>
                  <a:tcPr anchor="ctr"/>
                </a:tc>
                <a:tc>
                  <a:txBody>
                    <a:bodyPr/>
                    <a:lstStyle/>
                    <a:p>
                      <a:pPr marL="0" lvl="0" indent="0" algn="l">
                        <a:lnSpc>
                          <a:spcPct val="100000"/>
                        </a:lnSpc>
                        <a:spcBef>
                          <a:spcPts val="0"/>
                        </a:spcBef>
                        <a:spcAft>
                          <a:spcPts val="0"/>
                        </a:spcAft>
                        <a:buNone/>
                      </a:pPr>
                      <a:r>
                        <a:rPr lang="en-US" sz="1000" b="0" i="0" u="none" strike="noStrike" kern="1200" noProof="0"/>
                        <a:t>Balance Sheet Reinsurance </a:t>
                      </a:r>
                      <a:r>
                        <a:rPr lang="en-US" sz="1000" b="0" i="0" u="none" strike="noStrike" kern="1200" noProof="0" err="1"/>
                        <a:t>Recoverables</a:t>
                      </a:r>
                      <a:r>
                        <a:rPr lang="en-US" sz="1000" b="0" i="0" u="none" strike="noStrike" kern="1200" noProof="0"/>
                        <a:t> as percentage of Balance Sheet Assets</a:t>
                      </a:r>
                      <a:endParaRPr lang="en-US" sz="1000" kern="1200">
                        <a:solidFill>
                          <a:schemeClr val="tx1"/>
                        </a:solidFill>
                        <a:latin typeface="+mn-lt"/>
                        <a:ea typeface="+mn-ea"/>
                        <a:cs typeface="+mn-cs"/>
                      </a:endParaRPr>
                    </a:p>
                  </a:txBody>
                  <a:tcPr marL="68580" marR="68580" marT="0" marB="0" anchor="ctr"/>
                </a:tc>
                <a:tc>
                  <a:txBody>
                    <a:bodyPr/>
                    <a:lstStyle/>
                    <a:p>
                      <a:pPr marL="0" lvl="0" indent="0" algn="ctr">
                        <a:lnSpc>
                          <a:spcPct val="100000"/>
                        </a:lnSpc>
                        <a:spcBef>
                          <a:spcPts val="0"/>
                        </a:spcBef>
                        <a:spcAft>
                          <a:spcPts val="0"/>
                        </a:spcAft>
                        <a:buNone/>
                      </a:pPr>
                      <a:r>
                        <a:rPr lang="en-GB" sz="1000">
                          <a:effectLst/>
                          <a:latin typeface="+mn-lt"/>
                          <a:ea typeface="Calibri" panose="020F0502020204030204" pitchFamily="34" charset="0"/>
                        </a:rPr>
                        <a:t>&lt;40%</a:t>
                      </a:r>
                    </a:p>
                  </a:txBody>
                  <a:tcPr marL="68580" marR="68580" marT="0" marB="0" anchor="ctr">
                    <a:noFill/>
                  </a:tcPr>
                </a:tc>
                <a:tc>
                  <a:txBody>
                    <a:bodyPr/>
                    <a:lstStyle/>
                    <a:p>
                      <a:pPr lvl="0" algn="ctr">
                        <a:buNone/>
                      </a:pPr>
                      <a:r>
                        <a:rPr lang="en-GB" sz="1000">
                          <a:effectLst/>
                          <a:latin typeface="+mn-lt"/>
                          <a:ea typeface="Calibri" panose="020F0502020204030204" pitchFamily="34" charset="0"/>
                        </a:rPr>
                        <a:t>&gt;=40%</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50%</a:t>
                      </a:r>
                    </a:p>
                  </a:txBody>
                  <a:tcPr marL="68580" marR="68580" marT="0" marB="0" anchor="ctr">
                    <a:noFill/>
                  </a:tcPr>
                </a:tc>
                <a:tc>
                  <a:txBody>
                    <a:bodyPr/>
                    <a:lstStyle/>
                    <a:p>
                      <a:pPr lvl="0" algn="ctr">
                        <a:buNone/>
                      </a:pPr>
                      <a:r>
                        <a:rPr lang="en-GB" sz="1000" b="0" i="0" u="none" strike="noStrike" noProof="0">
                          <a:effectLst/>
                          <a:latin typeface="Arial"/>
                        </a:rPr>
                        <a:t>&gt;=75%</a:t>
                      </a:r>
                    </a:p>
                  </a:txBody>
                  <a:tcPr marL="68580" marR="68580" marT="0" marB="0" anchor="ctr">
                    <a:noFill/>
                  </a:tcPr>
                </a:tc>
                <a:extLst>
                  <a:ext uri="{0D108BD9-81ED-4DB2-BD59-A6C34878D82A}">
                    <a16:rowId xmlns:a16="http://schemas.microsoft.com/office/drawing/2014/main" val="2257984739"/>
                  </a:ext>
                </a:extLst>
              </a:tr>
              <a:tr h="268431">
                <a:tc>
                  <a:txBody>
                    <a:bodyPr/>
                    <a:lstStyle/>
                    <a:p>
                      <a:pPr lvl="0">
                        <a:buNone/>
                      </a:pPr>
                      <a:endParaRPr lang="en-GB" sz="1000" b="1">
                        <a:latin typeface="+mn-lt"/>
                      </a:endParaRPr>
                    </a:p>
                  </a:txBody>
                  <a:tcPr anchor="ctr"/>
                </a:tc>
                <a:tc>
                  <a:txBody>
                    <a:bodyPr/>
                    <a:lstStyle/>
                    <a:p>
                      <a:pPr marL="0" lvl="0" indent="0" algn="l">
                        <a:lnSpc>
                          <a:spcPct val="100000"/>
                        </a:lnSpc>
                        <a:spcBef>
                          <a:spcPts val="0"/>
                        </a:spcBef>
                        <a:spcAft>
                          <a:spcPts val="0"/>
                        </a:spcAft>
                        <a:buNone/>
                      </a:pPr>
                      <a:r>
                        <a:rPr lang="en-US" sz="1000" b="0" i="0" u="none" strike="noStrike" kern="1200" noProof="0"/>
                        <a:t>LCR Reinsurance Recoveries at the 1:200 as percentage of ECA</a:t>
                      </a:r>
                      <a:endParaRPr lang="en-US" sz="1000" kern="1200">
                        <a:solidFill>
                          <a:schemeClr val="tx1"/>
                        </a:solidFill>
                        <a:latin typeface="+mn-lt"/>
                        <a:ea typeface="+mn-ea"/>
                        <a:cs typeface="+mn-cs"/>
                      </a:endParaRPr>
                    </a:p>
                  </a:txBody>
                  <a:tcPr marL="68580" marR="68580" marT="0" marB="0" anchor="ctr"/>
                </a:tc>
                <a:tc>
                  <a:txBody>
                    <a:bodyPr/>
                    <a:lstStyle/>
                    <a:p>
                      <a:pPr marL="0" lvl="0" indent="0" algn="ctr">
                        <a:lnSpc>
                          <a:spcPct val="100000"/>
                        </a:lnSpc>
                        <a:spcBef>
                          <a:spcPts val="0"/>
                        </a:spcBef>
                        <a:spcAft>
                          <a:spcPts val="0"/>
                        </a:spcAft>
                        <a:buNone/>
                      </a:pPr>
                      <a:r>
                        <a:rPr lang="en-GB" sz="1000">
                          <a:effectLst/>
                          <a:latin typeface="+mn-lt"/>
                          <a:ea typeface="Calibri" panose="020F0502020204030204" pitchFamily="34" charset="0"/>
                        </a:rPr>
                        <a:t>&lt;200%</a:t>
                      </a:r>
                    </a:p>
                  </a:txBody>
                  <a:tcPr marL="68580" marR="68580" marT="0" marB="0" anchor="ctr">
                    <a:noFill/>
                  </a:tcPr>
                </a:tc>
                <a:tc>
                  <a:txBody>
                    <a:bodyPr/>
                    <a:lstStyle/>
                    <a:p>
                      <a:pPr lvl="0" algn="ctr">
                        <a:buNone/>
                      </a:pPr>
                      <a:r>
                        <a:rPr lang="en-GB" sz="1000">
                          <a:effectLst/>
                          <a:latin typeface="+mn-lt"/>
                          <a:ea typeface="Calibri" panose="020F0502020204030204" pitchFamily="34" charset="0"/>
                        </a:rPr>
                        <a:t>&gt;=200%</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300%</a:t>
                      </a:r>
                    </a:p>
                  </a:txBody>
                  <a:tcPr marL="68580" marR="68580" marT="0" marB="0" anchor="ctr">
                    <a:noFill/>
                  </a:tcPr>
                </a:tc>
                <a:tc>
                  <a:txBody>
                    <a:bodyPr/>
                    <a:lstStyle/>
                    <a:p>
                      <a:pPr lvl="0" algn="ctr">
                        <a:buNone/>
                      </a:pPr>
                      <a:r>
                        <a:rPr lang="en-GB" sz="1000" b="0" i="0" u="none" strike="noStrike" noProof="0">
                          <a:effectLst/>
                          <a:latin typeface="Arial"/>
                        </a:rPr>
                        <a:t>&gt;=500%</a:t>
                      </a:r>
                    </a:p>
                  </a:txBody>
                  <a:tcPr marL="68580" marR="68580" marT="0" marB="0" anchor="ctr">
                    <a:noFill/>
                  </a:tcPr>
                </a:tc>
                <a:extLst>
                  <a:ext uri="{0D108BD9-81ED-4DB2-BD59-A6C34878D82A}">
                    <a16:rowId xmlns:a16="http://schemas.microsoft.com/office/drawing/2014/main" val="889697057"/>
                  </a:ext>
                </a:extLst>
              </a:tr>
              <a:tr h="423536">
                <a:tc>
                  <a:txBody>
                    <a:bodyPr/>
                    <a:lstStyle/>
                    <a:p>
                      <a:pPr lvl="0">
                        <a:buNone/>
                      </a:pPr>
                      <a:endParaRPr lang="en-GB" sz="1000" b="1">
                        <a:latin typeface="+mn-lt"/>
                      </a:endParaRPr>
                    </a:p>
                  </a:txBody>
                  <a:tcPr anchor="ctr"/>
                </a:tc>
                <a:tc>
                  <a:txBody>
                    <a:bodyPr/>
                    <a:lstStyle/>
                    <a:p>
                      <a:pPr marL="0" lvl="0" indent="0" algn="l">
                        <a:lnSpc>
                          <a:spcPct val="100000"/>
                        </a:lnSpc>
                        <a:spcBef>
                          <a:spcPts val="0"/>
                        </a:spcBef>
                        <a:spcAft>
                          <a:spcPts val="0"/>
                        </a:spcAft>
                        <a:buNone/>
                      </a:pPr>
                      <a:r>
                        <a:rPr lang="en-US" sz="1000" b="0" i="0" u="none" strike="noStrike" kern="1200" noProof="0"/>
                        <a:t>LCM5 AEP Reinsurance Recoveries at the 1:200 as percentage of ECA</a:t>
                      </a:r>
                    </a:p>
                  </a:txBody>
                  <a:tcPr marL="68580" marR="68580" marT="0" marB="0" anchor="ctr"/>
                </a:tc>
                <a:tc>
                  <a:txBody>
                    <a:bodyPr/>
                    <a:lstStyle/>
                    <a:p>
                      <a:pPr marL="0" lvl="0" indent="0" algn="ctr">
                        <a:lnSpc>
                          <a:spcPct val="100000"/>
                        </a:lnSpc>
                        <a:spcBef>
                          <a:spcPts val="0"/>
                        </a:spcBef>
                        <a:spcAft>
                          <a:spcPts val="0"/>
                        </a:spcAft>
                        <a:buNone/>
                      </a:pPr>
                      <a:r>
                        <a:rPr lang="en-GB" sz="1000">
                          <a:effectLst/>
                          <a:latin typeface="+mn-lt"/>
                          <a:ea typeface="Calibri" panose="020F0502020204030204" pitchFamily="34" charset="0"/>
                        </a:rPr>
                        <a:t>&lt;75%</a:t>
                      </a:r>
                    </a:p>
                  </a:txBody>
                  <a:tcPr marL="68580" marR="68580" marT="0" marB="0" anchor="ctr">
                    <a:noFill/>
                  </a:tcPr>
                </a:tc>
                <a:tc>
                  <a:txBody>
                    <a:bodyPr/>
                    <a:lstStyle/>
                    <a:p>
                      <a:pPr lvl="0" algn="ctr">
                        <a:buNone/>
                      </a:pPr>
                      <a:r>
                        <a:rPr lang="en-GB" sz="1000">
                          <a:effectLst/>
                          <a:latin typeface="+mn-lt"/>
                          <a:ea typeface="Calibri" panose="020F0502020204030204" pitchFamily="34" charset="0"/>
                        </a:rPr>
                        <a:t>&gt;=75%</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100%</a:t>
                      </a:r>
                    </a:p>
                  </a:txBody>
                  <a:tcPr marL="68580" marR="68580" marT="0" marB="0" anchor="ctr">
                    <a:noFill/>
                  </a:tcPr>
                </a:tc>
                <a:tc>
                  <a:txBody>
                    <a:bodyPr/>
                    <a:lstStyle/>
                    <a:p>
                      <a:pPr lvl="0" algn="ctr">
                        <a:buNone/>
                      </a:pPr>
                      <a:r>
                        <a:rPr lang="en-GB" sz="1000" b="0" i="0" u="none" strike="noStrike" noProof="0">
                          <a:effectLst/>
                          <a:latin typeface="Arial"/>
                        </a:rPr>
                        <a:t>&gt;=300%</a:t>
                      </a:r>
                    </a:p>
                  </a:txBody>
                  <a:tcPr marL="68580" marR="68580" marT="0" marB="0" anchor="ctr">
                    <a:noFill/>
                  </a:tcPr>
                </a:tc>
                <a:extLst>
                  <a:ext uri="{0D108BD9-81ED-4DB2-BD59-A6C34878D82A}">
                    <a16:rowId xmlns:a16="http://schemas.microsoft.com/office/drawing/2014/main" val="936278653"/>
                  </a:ext>
                </a:extLst>
              </a:tr>
              <a:tr h="320386">
                <a:tc>
                  <a:txBody>
                    <a:bodyPr/>
                    <a:lstStyle/>
                    <a:p>
                      <a:pPr lvl="0">
                        <a:buNone/>
                      </a:pPr>
                      <a:endParaRPr lang="en-GB" sz="1000" b="1">
                        <a:latin typeface="+mn-lt"/>
                      </a:endParaRPr>
                    </a:p>
                  </a:txBody>
                  <a:tcPr anchor="ctr"/>
                </a:tc>
                <a:tc>
                  <a:txBody>
                    <a:bodyPr/>
                    <a:lstStyle/>
                    <a:p>
                      <a:pPr marL="0" lvl="0" indent="0" algn="l">
                        <a:lnSpc>
                          <a:spcPct val="100000"/>
                        </a:lnSpc>
                        <a:spcBef>
                          <a:spcPts val="0"/>
                        </a:spcBef>
                        <a:spcAft>
                          <a:spcPts val="0"/>
                        </a:spcAft>
                        <a:buNone/>
                      </a:pPr>
                      <a:r>
                        <a:rPr lang="en-US" sz="1000" b="0" i="0" u="none" strike="noStrike" kern="1200" noProof="0"/>
                        <a:t>YOA Reinsurance Recoveries as percentage of Gross Loss</a:t>
                      </a:r>
                      <a:endParaRPr lang="en-US" sz="1000" kern="1200">
                        <a:solidFill>
                          <a:schemeClr val="tx1"/>
                        </a:solidFill>
                        <a:latin typeface="+mn-lt"/>
                        <a:ea typeface="+mn-ea"/>
                        <a:cs typeface="+mn-cs"/>
                      </a:endParaRPr>
                    </a:p>
                  </a:txBody>
                  <a:tcPr marL="68580" marR="68580" marT="0" marB="0" anchor="ctr"/>
                </a:tc>
                <a:tc>
                  <a:txBody>
                    <a:bodyPr/>
                    <a:lstStyle/>
                    <a:p>
                      <a:pPr marL="0" lvl="0" indent="0" algn="ctr">
                        <a:lnSpc>
                          <a:spcPct val="100000"/>
                        </a:lnSpc>
                        <a:spcBef>
                          <a:spcPts val="0"/>
                        </a:spcBef>
                        <a:spcAft>
                          <a:spcPts val="0"/>
                        </a:spcAft>
                        <a:buNone/>
                      </a:pPr>
                      <a:r>
                        <a:rPr lang="en-GB" sz="1000">
                          <a:effectLst/>
                          <a:latin typeface="+mn-lt"/>
                          <a:ea typeface="Calibri" panose="020F0502020204030204" pitchFamily="34" charset="0"/>
                        </a:rPr>
                        <a:t>&lt;40%</a:t>
                      </a:r>
                    </a:p>
                  </a:txBody>
                  <a:tcPr marL="68580" marR="68580" marT="0" marB="0" anchor="ctr">
                    <a:noFill/>
                  </a:tcPr>
                </a:tc>
                <a:tc>
                  <a:txBody>
                    <a:bodyPr/>
                    <a:lstStyle/>
                    <a:p>
                      <a:pPr lvl="0" algn="ctr">
                        <a:buNone/>
                      </a:pPr>
                      <a:r>
                        <a:rPr lang="en-GB" sz="1000">
                          <a:effectLst/>
                          <a:latin typeface="+mn-lt"/>
                          <a:ea typeface="Calibri" panose="020F0502020204030204" pitchFamily="34" charset="0"/>
                        </a:rPr>
                        <a:t>&gt;=40%</a:t>
                      </a:r>
                    </a:p>
                  </a:txBody>
                  <a:tcPr marL="68580" marR="68580" marT="0" marB="0" anchor="ctr">
                    <a:noFill/>
                  </a:tcPr>
                </a:tc>
                <a:tc>
                  <a:txBody>
                    <a:bodyPr/>
                    <a:lstStyle/>
                    <a:p>
                      <a:pPr marL="0" lvl="0" indent="0" algn="ctr">
                        <a:buNone/>
                      </a:pPr>
                      <a:r>
                        <a:rPr lang="en-US" sz="1000">
                          <a:effectLst/>
                          <a:latin typeface="+mn-lt"/>
                          <a:ea typeface="Calibri" panose="020F0502020204030204" pitchFamily="34" charset="0"/>
                        </a:rPr>
                        <a:t>&gt;=50%</a:t>
                      </a:r>
                    </a:p>
                  </a:txBody>
                  <a:tcPr marL="68580" marR="68580" marT="0" marB="0" anchor="ctr">
                    <a:noFill/>
                  </a:tcPr>
                </a:tc>
                <a:tc>
                  <a:txBody>
                    <a:bodyPr/>
                    <a:lstStyle/>
                    <a:p>
                      <a:pPr lvl="0" algn="ctr">
                        <a:buNone/>
                      </a:pPr>
                      <a:r>
                        <a:rPr lang="en-GB" sz="1000" b="0" i="0" u="none" strike="noStrike" noProof="0">
                          <a:effectLst/>
                          <a:latin typeface="Arial"/>
                        </a:rPr>
                        <a:t>&gt;=75%</a:t>
                      </a:r>
                    </a:p>
                  </a:txBody>
                  <a:tcPr marL="68580" marR="68580" marT="0" marB="0" anchor="ctr">
                    <a:noFill/>
                  </a:tcPr>
                </a:tc>
                <a:extLst>
                  <a:ext uri="{0D108BD9-81ED-4DB2-BD59-A6C34878D82A}">
                    <a16:rowId xmlns:a16="http://schemas.microsoft.com/office/drawing/2014/main" val="258984044"/>
                  </a:ext>
                </a:extLst>
              </a:tr>
            </a:tbl>
          </a:graphicData>
        </a:graphic>
      </p:graphicFrame>
      <p:sp>
        <p:nvSpPr>
          <p:cNvPr id="7" name="TextBox 6">
            <a:extLst>
              <a:ext uri="{FF2B5EF4-FFF2-40B4-BE49-F238E27FC236}">
                <a16:creationId xmlns:a16="http://schemas.microsoft.com/office/drawing/2014/main" id="{1FCF11E4-149B-4669-9F4C-906D7044AEA2}"/>
              </a:ext>
            </a:extLst>
          </p:cNvPr>
          <p:cNvSpPr txBox="1"/>
          <p:nvPr/>
        </p:nvSpPr>
        <p:spPr>
          <a:xfrm>
            <a:off x="602673" y="4205539"/>
            <a:ext cx="6420505" cy="2123658"/>
          </a:xfrm>
          <a:prstGeom prst="rect">
            <a:avLst/>
          </a:prstGeom>
          <a:noFill/>
        </p:spPr>
        <p:txBody>
          <a:bodyPr wrap="square" lIns="91440" tIns="45720" rIns="91440" bIns="45720" rtlCol="0" anchor="t">
            <a:spAutoFit/>
          </a:bodyPr>
          <a:lstStyle/>
          <a:p>
            <a:pPr marL="171450" indent="-171450">
              <a:buFont typeface="Arial"/>
              <a:buChar char="•"/>
            </a:pPr>
            <a:r>
              <a:rPr lang="en-GB" sz="1200" b="1" dirty="0">
                <a:solidFill>
                  <a:schemeClr val="accent3"/>
                </a:solidFill>
                <a:ea typeface="+mn-lt"/>
                <a:cs typeface="+mn-lt"/>
              </a:rPr>
              <a:t>No change to the thresholds we already use to identify key risk features.  </a:t>
            </a:r>
            <a:endParaRPr lang="en-GB" sz="1200" dirty="0">
              <a:solidFill>
                <a:schemeClr val="accent3"/>
              </a:solidFill>
              <a:ea typeface="+mn-lt"/>
              <a:cs typeface="+mn-lt"/>
            </a:endParaRPr>
          </a:p>
          <a:p>
            <a:pPr marL="171450" indent="-171450">
              <a:buFont typeface="Arial"/>
              <a:buChar char="•"/>
            </a:pPr>
            <a:endParaRPr lang="en-GB" sz="1200" b="1">
              <a:solidFill>
                <a:schemeClr val="accent3"/>
              </a:solidFill>
              <a:cs typeface="Arial"/>
            </a:endParaRPr>
          </a:p>
          <a:p>
            <a:pPr marL="171450" indent="-171450">
              <a:buFont typeface="Arial"/>
              <a:buChar char="•"/>
            </a:pPr>
            <a:r>
              <a:rPr lang="en-GB" sz="1200" b="1" dirty="0">
                <a:solidFill>
                  <a:schemeClr val="accent3"/>
                </a:solidFill>
                <a:ea typeface="+mn-lt"/>
                <a:cs typeface="+mn-lt"/>
              </a:rPr>
              <a:t>No change to the expectation that syndicate’s need to have management and control processes appropriate for their level of reinsurance risk.</a:t>
            </a:r>
            <a:endParaRPr lang="en-GB" dirty="0">
              <a:solidFill>
                <a:schemeClr val="accent3"/>
              </a:solidFill>
              <a:cs typeface="Arial"/>
            </a:endParaRPr>
          </a:p>
          <a:p>
            <a:pPr marL="171450" indent="-171450">
              <a:buFont typeface="Arial"/>
              <a:buChar char="•"/>
            </a:pPr>
            <a:endParaRPr lang="en-GB" sz="1200">
              <a:solidFill>
                <a:schemeClr val="accent3"/>
              </a:solidFill>
              <a:cs typeface="Arial"/>
            </a:endParaRPr>
          </a:p>
          <a:p>
            <a:pPr marL="171450" indent="-171450">
              <a:buFont typeface="Arial"/>
              <a:buChar char="•"/>
            </a:pPr>
            <a:r>
              <a:rPr lang="en-GB" sz="1200" b="1" dirty="0">
                <a:solidFill>
                  <a:schemeClr val="accent3"/>
                </a:solidFill>
                <a:ea typeface="+mn-lt"/>
                <a:cs typeface="+mn-lt"/>
              </a:rPr>
              <a:t>Six key features are used to assess materiality, the maximum of which will determine the overall level, which will inform the expected maturity.  For example, a ‘high’ materiality rating leads to an expected maturity of ‘established’.</a:t>
            </a:r>
            <a:endParaRPr lang="en-GB" sz="1200" b="1" dirty="0">
              <a:solidFill>
                <a:schemeClr val="accent3"/>
              </a:solidFill>
              <a:cs typeface="Arial"/>
            </a:endParaRPr>
          </a:p>
          <a:p>
            <a:pPr marL="171450" indent="-171450">
              <a:buFont typeface="Arial"/>
              <a:buChar char="•"/>
            </a:pPr>
            <a:endParaRPr lang="en-GB" sz="1200" b="1">
              <a:solidFill>
                <a:schemeClr val="accent3"/>
              </a:solidFill>
              <a:ea typeface="+mn-lt"/>
              <a:cs typeface="+mn-lt"/>
            </a:endParaRPr>
          </a:p>
          <a:p>
            <a:pPr marL="171450" indent="-171450">
              <a:buFont typeface="Arial"/>
              <a:buChar char="•"/>
            </a:pPr>
            <a:r>
              <a:rPr lang="en-GB" sz="1200" b="1" dirty="0">
                <a:solidFill>
                  <a:schemeClr val="accent3"/>
                </a:solidFill>
                <a:ea typeface="+mn-lt"/>
                <a:cs typeface="+mn-lt"/>
              </a:rPr>
              <a:t>In line with risk-based approach, more time will be spent discussing and understanding risks with the higher materiality syndicates.</a:t>
            </a:r>
            <a:endParaRPr lang="en-GB" dirty="0">
              <a:solidFill>
                <a:schemeClr val="accent3"/>
              </a:solidFill>
              <a:cs typeface="Arial"/>
            </a:endParaRPr>
          </a:p>
        </p:txBody>
      </p:sp>
      <p:pic>
        <p:nvPicPr>
          <p:cNvPr id="14" name="Picture 14" descr="Table&#10;&#10;Description automatically generated">
            <a:extLst>
              <a:ext uri="{FF2B5EF4-FFF2-40B4-BE49-F238E27FC236}">
                <a16:creationId xmlns:a16="http://schemas.microsoft.com/office/drawing/2014/main" id="{F941AB6B-F62D-4BF8-A4BF-0BE60AA1803D}"/>
              </a:ext>
            </a:extLst>
          </p:cNvPr>
          <p:cNvPicPr>
            <a:picLocks noChangeAspect="1"/>
          </p:cNvPicPr>
          <p:nvPr/>
        </p:nvPicPr>
        <p:blipFill>
          <a:blip r:embed="rId2"/>
          <a:stretch>
            <a:fillRect/>
          </a:stretch>
        </p:blipFill>
        <p:spPr>
          <a:xfrm>
            <a:off x="7303022" y="4333938"/>
            <a:ext cx="3968530" cy="2052628"/>
          </a:xfrm>
          <a:prstGeom prst="rect">
            <a:avLst/>
          </a:prstGeom>
        </p:spPr>
      </p:pic>
      <p:grpSp>
        <p:nvGrpSpPr>
          <p:cNvPr id="11" name="Group 10">
            <a:extLst>
              <a:ext uri="{FF2B5EF4-FFF2-40B4-BE49-F238E27FC236}">
                <a16:creationId xmlns:a16="http://schemas.microsoft.com/office/drawing/2014/main" id="{F44F822A-3E77-4AF7-B3B8-0022C7E11D02}"/>
              </a:ext>
            </a:extLst>
          </p:cNvPr>
          <p:cNvGrpSpPr/>
          <p:nvPr/>
        </p:nvGrpSpPr>
        <p:grpSpPr>
          <a:xfrm>
            <a:off x="9649791" y="35031"/>
            <a:ext cx="2402547" cy="1372884"/>
            <a:chOff x="9649791" y="35031"/>
            <a:chExt cx="2402547" cy="1372884"/>
          </a:xfrm>
        </p:grpSpPr>
        <p:pic>
          <p:nvPicPr>
            <p:cNvPr id="12" name="Picture 11">
              <a:extLst>
                <a:ext uri="{FF2B5EF4-FFF2-40B4-BE49-F238E27FC236}">
                  <a16:creationId xmlns:a16="http://schemas.microsoft.com/office/drawing/2014/main" id="{E76FC593-F673-464A-8350-091D13F17CB6}"/>
                </a:ext>
              </a:extLst>
            </p:cNvPr>
            <p:cNvPicPr>
              <a:picLocks noChangeAspect="1"/>
            </p:cNvPicPr>
            <p:nvPr/>
          </p:nvPicPr>
          <p:blipFill>
            <a:blip r:embed="rId3"/>
            <a:stretch>
              <a:fillRect/>
            </a:stretch>
          </p:blipFill>
          <p:spPr>
            <a:xfrm>
              <a:off x="9649791" y="35031"/>
              <a:ext cx="2402547" cy="1372884"/>
            </a:xfrm>
            <a:prstGeom prst="rect">
              <a:avLst/>
            </a:prstGeom>
          </p:spPr>
        </p:pic>
        <p:sp>
          <p:nvSpPr>
            <p:cNvPr id="13" name="Oval 12">
              <a:extLst>
                <a:ext uri="{FF2B5EF4-FFF2-40B4-BE49-F238E27FC236}">
                  <a16:creationId xmlns:a16="http://schemas.microsoft.com/office/drawing/2014/main" id="{B725940F-A70A-4E8E-91ED-CA2E4BDAA053}"/>
                </a:ext>
              </a:extLst>
            </p:cNvPr>
            <p:cNvSpPr/>
            <p:nvPr/>
          </p:nvSpPr>
          <p:spPr>
            <a:xfrm>
              <a:off x="9649791" y="985261"/>
              <a:ext cx="841413" cy="40069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grpSp>
    </p:spTree>
    <p:extLst>
      <p:ext uri="{BB962C8B-B14F-4D97-AF65-F5344CB8AC3E}">
        <p14:creationId xmlns:p14="http://schemas.microsoft.com/office/powerpoint/2010/main" val="2870821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 - Outwards Reinsurance</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vert="horz" lIns="0" tIns="0" rIns="0" bIns="0" rtlCol="0" anchor="t">
            <a:spAutoFit/>
          </a:bodyPr>
          <a:lstStyle/>
          <a:p>
            <a:r>
              <a:rPr lang="en-GB" sz="1800">
                <a:solidFill>
                  <a:schemeClr val="accent3"/>
                </a:solidFill>
              </a:rPr>
              <a:t>How to assess performance against the Principles?</a:t>
            </a:r>
          </a:p>
        </p:txBody>
      </p:sp>
      <p:sp>
        <p:nvSpPr>
          <p:cNvPr id="3" name="TextBox 2">
            <a:extLst>
              <a:ext uri="{FF2B5EF4-FFF2-40B4-BE49-F238E27FC236}">
                <a16:creationId xmlns:a16="http://schemas.microsoft.com/office/drawing/2014/main" id="{E4EA7931-99FD-496C-9C64-F953748628DD}"/>
              </a:ext>
            </a:extLst>
          </p:cNvPr>
          <p:cNvSpPr txBox="1"/>
          <p:nvPr/>
        </p:nvSpPr>
        <p:spPr>
          <a:xfrm>
            <a:off x="539999" y="1927993"/>
            <a:ext cx="5199789" cy="4616648"/>
          </a:xfrm>
          <a:prstGeom prst="rect">
            <a:avLst/>
          </a:prstGeom>
          <a:noFill/>
        </p:spPr>
        <p:txBody>
          <a:bodyPr wrap="square" lIns="91440" tIns="45720" rIns="91440" bIns="45720" rtlCol="0" anchor="t">
            <a:spAutoFit/>
          </a:bodyPr>
          <a:lstStyle/>
          <a:p>
            <a:r>
              <a:rPr lang="en-GB" sz="1400" b="1" u="sng" dirty="0">
                <a:solidFill>
                  <a:schemeClr val="accent3"/>
                </a:solidFill>
                <a:ea typeface="+mn-lt"/>
                <a:cs typeface="+mn-lt"/>
              </a:rPr>
              <a:t>1) Quantitative assessment</a:t>
            </a:r>
            <a:endParaRPr lang="en-US" sz="1400" u="sng" dirty="0">
              <a:solidFill>
                <a:schemeClr val="accent3"/>
              </a:solidFill>
              <a:ea typeface="+mn-lt"/>
              <a:cs typeface="+mn-lt"/>
            </a:endParaRPr>
          </a:p>
          <a:p>
            <a:endParaRPr lang="en-GB" sz="1400" b="1">
              <a:solidFill>
                <a:schemeClr val="accent3"/>
              </a:solidFill>
              <a:ea typeface="+mn-lt"/>
              <a:cs typeface="+mn-lt"/>
            </a:endParaRPr>
          </a:p>
          <a:p>
            <a:pPr marL="342900" indent="-342900">
              <a:buFont typeface="Arial"/>
              <a:buChar char="•"/>
            </a:pPr>
            <a:r>
              <a:rPr lang="en-GB" sz="1400" b="1" dirty="0">
                <a:solidFill>
                  <a:schemeClr val="accent3"/>
                </a:solidFill>
                <a:ea typeface="+mn-lt"/>
                <a:cs typeface="+mn-lt"/>
              </a:rPr>
              <a:t>Secondary strength metrics will be considered, such as:</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performance of reinsurance compared to plan</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financial strength of reinsurers (in-force and balance)</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reported reinsurance aged debt</a:t>
            </a:r>
            <a:endParaRPr lang="en-GB" sz="1400" dirty="0">
              <a:solidFill>
                <a:schemeClr val="accent3"/>
              </a:solidFill>
              <a:cs typeface="Arial"/>
            </a:endParaRPr>
          </a:p>
          <a:p>
            <a:pPr algn="l"/>
            <a:endParaRPr lang="en-GB" sz="1400">
              <a:solidFill>
                <a:schemeClr val="accent3"/>
              </a:solidFill>
              <a:cs typeface="Arial"/>
            </a:endParaRPr>
          </a:p>
          <a:p>
            <a:pPr marL="285750" indent="-285750">
              <a:buFont typeface="Arial"/>
              <a:buChar char="•"/>
            </a:pPr>
            <a:r>
              <a:rPr lang="en-GB" sz="1400" b="1" dirty="0">
                <a:solidFill>
                  <a:schemeClr val="accent3"/>
                </a:solidFill>
                <a:ea typeface="+mn-lt"/>
                <a:cs typeface="+mn-lt"/>
              </a:rPr>
              <a:t>Quantitative assessments are inherently lagging indicators.  Much of what we aim to do is to minimise risk and impact of reinsurance failure - if we wait for a syndicate’s reporting to indicate that there is a problem then that’s too late so we will also need to use Qualitative assessment.</a:t>
            </a:r>
            <a:endParaRPr lang="en-GB" sz="1400" dirty="0">
              <a:solidFill>
                <a:schemeClr val="accent3"/>
              </a:solidFill>
              <a:cs typeface="Arial"/>
            </a:endParaRPr>
          </a:p>
          <a:p>
            <a:pPr algn="l"/>
            <a:endParaRPr lang="en-GB" sz="1400" b="1" dirty="0">
              <a:solidFill>
                <a:schemeClr val="accent3"/>
              </a:solidFill>
              <a:cs typeface="Arial"/>
            </a:endParaRPr>
          </a:p>
          <a:p>
            <a:endParaRPr lang="en-GB" sz="1400" b="1" dirty="0">
              <a:solidFill>
                <a:schemeClr val="accent3"/>
              </a:solidFill>
              <a:cs typeface="Arial"/>
            </a:endParaRPr>
          </a:p>
          <a:p>
            <a:endParaRPr lang="en-GB" sz="1400" b="1" dirty="0">
              <a:solidFill>
                <a:schemeClr val="accent3"/>
              </a:solidFill>
              <a:cs typeface="Arial"/>
            </a:endParaRPr>
          </a:p>
          <a:p>
            <a:endParaRPr lang="en-GB" sz="1400" b="1" dirty="0">
              <a:solidFill>
                <a:schemeClr val="accent3"/>
              </a:solidFill>
              <a:cs typeface="Arial"/>
            </a:endParaRPr>
          </a:p>
          <a:p>
            <a:endParaRPr lang="en-GB" sz="1400" b="1" dirty="0">
              <a:solidFill>
                <a:schemeClr val="accent3"/>
              </a:solidFill>
              <a:cs typeface="Arial"/>
            </a:endParaRPr>
          </a:p>
          <a:p>
            <a:pPr marL="457200" indent="-457200">
              <a:buAutoNum type="arabicParenR"/>
            </a:pPr>
            <a:endParaRPr lang="en-GB" sz="1400" b="1">
              <a:solidFill>
                <a:schemeClr val="accent3"/>
              </a:solidFill>
              <a:cs typeface="Arial"/>
            </a:endParaRPr>
          </a:p>
        </p:txBody>
      </p:sp>
      <p:sp>
        <p:nvSpPr>
          <p:cNvPr id="5" name="TextBox 4">
            <a:extLst>
              <a:ext uri="{FF2B5EF4-FFF2-40B4-BE49-F238E27FC236}">
                <a16:creationId xmlns:a16="http://schemas.microsoft.com/office/drawing/2014/main" id="{451AAE5C-6538-4B7C-883E-4734C9740266}"/>
              </a:ext>
            </a:extLst>
          </p:cNvPr>
          <p:cNvSpPr txBox="1"/>
          <p:nvPr/>
        </p:nvSpPr>
        <p:spPr>
          <a:xfrm>
            <a:off x="5940679" y="1926605"/>
            <a:ext cx="5502856" cy="4607989"/>
          </a:xfrm>
          <a:prstGeom prst="rect">
            <a:avLst/>
          </a:prstGeom>
          <a:noFill/>
        </p:spPr>
        <p:txBody>
          <a:bodyPr wrap="square" lIns="91440" tIns="45720" rIns="91440" bIns="45720" rtlCol="0" anchor="t">
            <a:spAutoFit/>
          </a:bodyPr>
          <a:lstStyle/>
          <a:p>
            <a:r>
              <a:rPr lang="en-GB" sz="1400" b="1" u="sng" dirty="0">
                <a:solidFill>
                  <a:schemeClr val="accent3"/>
                </a:solidFill>
                <a:ea typeface="+mn-lt"/>
                <a:cs typeface="+mn-lt"/>
              </a:rPr>
              <a:t>2) Qualitative assessment</a:t>
            </a:r>
            <a:r>
              <a:rPr lang="en-GB" sz="1400" u="sng" dirty="0">
                <a:solidFill>
                  <a:schemeClr val="accent3"/>
                </a:solidFill>
                <a:ea typeface="+mn-lt"/>
                <a:cs typeface="+mn-lt"/>
              </a:rPr>
              <a:t> </a:t>
            </a:r>
            <a:endParaRPr lang="en-US" sz="1400" u="sng" dirty="0">
              <a:solidFill>
                <a:schemeClr val="accent3"/>
              </a:solidFill>
              <a:cs typeface="Arial"/>
            </a:endParaRPr>
          </a:p>
          <a:p>
            <a:endParaRPr lang="en-GB" sz="1400">
              <a:solidFill>
                <a:schemeClr val="accent3"/>
              </a:solidFill>
              <a:cs typeface="Arial"/>
            </a:endParaRPr>
          </a:p>
          <a:p>
            <a:pPr marL="285750" indent="-285750">
              <a:buFont typeface="Arial"/>
              <a:buChar char="•"/>
            </a:pPr>
            <a:r>
              <a:rPr lang="en-GB" sz="1400" b="1" dirty="0">
                <a:solidFill>
                  <a:schemeClr val="accent3"/>
                </a:solidFill>
                <a:ea typeface="+mn-lt"/>
                <a:cs typeface="+mn-lt"/>
              </a:rPr>
              <a:t>Self-assessments – used to understand syndicate’s own view of reinsurance risk and how it is being managed.</a:t>
            </a:r>
            <a:r>
              <a:rPr lang="en-GB" sz="1400" dirty="0">
                <a:solidFill>
                  <a:schemeClr val="accent3"/>
                </a:solidFill>
                <a:ea typeface="+mn-lt"/>
                <a:cs typeface="+mn-lt"/>
              </a:rPr>
              <a:t> </a:t>
            </a:r>
            <a:endParaRPr lang="en-GB" sz="1400" dirty="0">
              <a:solidFill>
                <a:schemeClr val="accent3"/>
              </a:solidFill>
              <a:cs typeface="Arial"/>
            </a:endParaRPr>
          </a:p>
          <a:p>
            <a:pPr>
              <a:buFont typeface="Arial"/>
              <a:buChar char="•"/>
            </a:pPr>
            <a:endParaRPr lang="en-GB" sz="1400">
              <a:solidFill>
                <a:schemeClr val="accent3"/>
              </a:solidFill>
              <a:ea typeface="+mn-lt"/>
              <a:cs typeface="+mn-lt"/>
            </a:endParaRPr>
          </a:p>
          <a:p>
            <a:pPr marL="285750" indent="-285750">
              <a:buFont typeface="Arial"/>
              <a:buChar char="•"/>
            </a:pPr>
            <a:r>
              <a:rPr lang="en-GB" sz="1400" b="1" dirty="0">
                <a:solidFill>
                  <a:schemeClr val="accent3"/>
                </a:solidFill>
                <a:ea typeface="+mn-lt"/>
                <a:cs typeface="+mn-lt"/>
              </a:rPr>
              <a:t>Additional metrics may be used as indicators for further conversation, such as:</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volume of shared and/or related party reinsurance</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sustainability of reinsurance loss ratios</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level of reinsurance ceding commissions</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consistency and accuracy of reporting</a:t>
            </a:r>
            <a:endParaRPr lang="en-GB" sz="1400" dirty="0">
              <a:solidFill>
                <a:schemeClr val="accent3"/>
              </a:solidFill>
              <a:ea typeface="+mn-lt"/>
              <a:cs typeface="+mn-lt"/>
            </a:endParaRPr>
          </a:p>
          <a:p>
            <a:pPr marL="800100" lvl="1" indent="-342900">
              <a:buAutoNum type="romanLcPeriod"/>
            </a:pPr>
            <a:r>
              <a:rPr lang="en-GB" sz="1400" b="1" dirty="0">
                <a:solidFill>
                  <a:schemeClr val="accent3"/>
                </a:solidFill>
                <a:ea typeface="+mn-lt"/>
                <a:cs typeface="+mn-lt"/>
              </a:rPr>
              <a:t>reinsurer concentration and/or reinsurance credit risk</a:t>
            </a:r>
            <a:br>
              <a:rPr lang="en-GB" sz="1400" b="1" dirty="0">
                <a:ea typeface="+mn-lt"/>
                <a:cs typeface="+mn-lt"/>
              </a:rPr>
            </a:br>
            <a:r>
              <a:rPr lang="en-GB" sz="1400" b="1" dirty="0">
                <a:solidFill>
                  <a:schemeClr val="accent3"/>
                </a:solidFill>
                <a:ea typeface="+mn-lt"/>
                <a:cs typeface="+mn-lt"/>
              </a:rPr>
              <a:t> </a:t>
            </a:r>
            <a:endParaRPr lang="en-GB" sz="1400" dirty="0">
              <a:solidFill>
                <a:schemeClr val="accent3"/>
              </a:solidFill>
              <a:ea typeface="+mn-lt"/>
              <a:cs typeface="+mn-lt"/>
            </a:endParaRPr>
          </a:p>
          <a:p>
            <a:pPr marL="285750" indent="-285750">
              <a:buFont typeface="Arial"/>
              <a:buChar char="•"/>
            </a:pPr>
            <a:r>
              <a:rPr lang="en-GB" sz="1400" b="1" dirty="0">
                <a:solidFill>
                  <a:schemeClr val="accent3"/>
                </a:solidFill>
                <a:ea typeface="+mn-lt"/>
                <a:cs typeface="+mn-lt"/>
              </a:rPr>
              <a:t>Syndicate specific oversight will apply where the self-assessment does not indicate maturity appropriate for materiality </a:t>
            </a:r>
            <a:endParaRPr lang="en-GB" sz="1400" dirty="0">
              <a:solidFill>
                <a:schemeClr val="accent3"/>
              </a:solidFill>
              <a:cs typeface="Arial"/>
            </a:endParaRPr>
          </a:p>
          <a:p>
            <a:endParaRPr lang="en-GB" sz="1400">
              <a:solidFill>
                <a:schemeClr val="accent3"/>
              </a:solidFill>
              <a:cs typeface="Arial"/>
            </a:endParaRPr>
          </a:p>
          <a:p>
            <a:pPr marL="285750" indent="-285750">
              <a:buFont typeface="Arial"/>
              <a:buChar char="•"/>
            </a:pPr>
            <a:r>
              <a:rPr lang="en-GB" sz="1400" b="1" dirty="0">
                <a:solidFill>
                  <a:schemeClr val="accent3"/>
                </a:solidFill>
                <a:ea typeface="+mn-lt"/>
                <a:cs typeface="+mn-lt"/>
              </a:rPr>
              <a:t>Will consider factors which may not be evident in the metrics such as new or pending acquisitions.</a:t>
            </a:r>
            <a:r>
              <a:rPr lang="en-GB" sz="1400" dirty="0">
                <a:solidFill>
                  <a:schemeClr val="accent3"/>
                </a:solidFill>
                <a:ea typeface="+mn-lt"/>
                <a:cs typeface="+mn-lt"/>
              </a:rPr>
              <a:t> </a:t>
            </a:r>
            <a:endParaRPr lang="en-GB" sz="1400" dirty="0">
              <a:solidFill>
                <a:schemeClr val="accent3"/>
              </a:solidFill>
              <a:cs typeface="Arial"/>
            </a:endParaRPr>
          </a:p>
          <a:p>
            <a:pPr marL="457200" indent="-457200" algn="l">
              <a:buAutoNum type="arabicParenR" startAt="2"/>
            </a:pPr>
            <a:endParaRPr lang="en-GB" sz="1400" b="1">
              <a:solidFill>
                <a:schemeClr val="accent3"/>
              </a:solidFill>
              <a:cs typeface="Arial"/>
            </a:endParaRPr>
          </a:p>
        </p:txBody>
      </p:sp>
      <p:grpSp>
        <p:nvGrpSpPr>
          <p:cNvPr id="8" name="Group 7">
            <a:extLst>
              <a:ext uri="{FF2B5EF4-FFF2-40B4-BE49-F238E27FC236}">
                <a16:creationId xmlns:a16="http://schemas.microsoft.com/office/drawing/2014/main" id="{C1F74679-1D90-4A99-8E51-DD554E070865}"/>
              </a:ext>
            </a:extLst>
          </p:cNvPr>
          <p:cNvGrpSpPr/>
          <p:nvPr/>
        </p:nvGrpSpPr>
        <p:grpSpPr>
          <a:xfrm>
            <a:off x="9649791" y="35031"/>
            <a:ext cx="2402547" cy="1372884"/>
            <a:chOff x="9649791" y="35031"/>
            <a:chExt cx="2402547" cy="1372884"/>
          </a:xfrm>
        </p:grpSpPr>
        <p:pic>
          <p:nvPicPr>
            <p:cNvPr id="9" name="Picture 8">
              <a:extLst>
                <a:ext uri="{FF2B5EF4-FFF2-40B4-BE49-F238E27FC236}">
                  <a16:creationId xmlns:a16="http://schemas.microsoft.com/office/drawing/2014/main" id="{F241C65E-A9DA-453C-AF6E-FC5E18F6171C}"/>
                </a:ext>
              </a:extLst>
            </p:cNvPr>
            <p:cNvPicPr>
              <a:picLocks noChangeAspect="1"/>
            </p:cNvPicPr>
            <p:nvPr/>
          </p:nvPicPr>
          <p:blipFill>
            <a:blip r:embed="rId2"/>
            <a:stretch>
              <a:fillRect/>
            </a:stretch>
          </p:blipFill>
          <p:spPr>
            <a:xfrm>
              <a:off x="9649791" y="35031"/>
              <a:ext cx="2402547" cy="1372884"/>
            </a:xfrm>
            <a:prstGeom prst="rect">
              <a:avLst/>
            </a:prstGeom>
          </p:spPr>
        </p:pic>
        <p:sp>
          <p:nvSpPr>
            <p:cNvPr id="10" name="Oval 9">
              <a:extLst>
                <a:ext uri="{FF2B5EF4-FFF2-40B4-BE49-F238E27FC236}">
                  <a16:creationId xmlns:a16="http://schemas.microsoft.com/office/drawing/2014/main" id="{5C33A515-1FA4-4096-B021-902180C1F26F}"/>
                </a:ext>
              </a:extLst>
            </p:cNvPr>
            <p:cNvSpPr/>
            <p:nvPr/>
          </p:nvSpPr>
          <p:spPr>
            <a:xfrm>
              <a:off x="11210925" y="988666"/>
              <a:ext cx="841413" cy="40069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grpSp>
      <p:sp>
        <p:nvSpPr>
          <p:cNvPr id="11" name="TextBox 1">
            <a:extLst>
              <a:ext uri="{FF2B5EF4-FFF2-40B4-BE49-F238E27FC236}">
                <a16:creationId xmlns:a16="http://schemas.microsoft.com/office/drawing/2014/main" id="{D446E50B-8F3C-4C75-A12A-F03844FD7BDD}"/>
              </a:ext>
            </a:extLst>
          </p:cNvPr>
          <p:cNvSpPr txBox="1"/>
          <p:nvPr/>
        </p:nvSpPr>
        <p:spPr>
          <a:xfrm>
            <a:off x="539999" y="1536174"/>
            <a:ext cx="11160000"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1600" b="1">
                <a:solidFill>
                  <a:schemeClr val="accent3"/>
                </a:solidFill>
              </a:rPr>
              <a:t>Assessment against Principles will be through combination of quantitative and qualitative </a:t>
            </a:r>
          </a:p>
        </p:txBody>
      </p:sp>
    </p:spTree>
    <p:extLst>
      <p:ext uri="{BB962C8B-B14F-4D97-AF65-F5344CB8AC3E}">
        <p14:creationId xmlns:p14="http://schemas.microsoft.com/office/powerpoint/2010/main" val="30116665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 – Outwards Reinsurance</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vert="horz" lIns="0" tIns="0" rIns="0" bIns="0" rtlCol="0" anchor="t">
            <a:spAutoFit/>
          </a:bodyPr>
          <a:lstStyle/>
          <a:p>
            <a:r>
              <a:rPr lang="en-GB" sz="1800">
                <a:solidFill>
                  <a:schemeClr val="accent3"/>
                </a:solidFill>
              </a:rPr>
              <a:t>Interventions specific to Outwards Reinsurance </a:t>
            </a:r>
            <a:endParaRPr lang="en-GB" sz="1800">
              <a:solidFill>
                <a:schemeClr val="accent3"/>
              </a:solidFill>
              <a:highlight>
                <a:srgbClr val="00FFFF"/>
              </a:highlight>
            </a:endParaRPr>
          </a:p>
        </p:txBody>
      </p:sp>
      <p:pic>
        <p:nvPicPr>
          <p:cNvPr id="7" name="Picture 6">
            <a:extLst>
              <a:ext uri="{FF2B5EF4-FFF2-40B4-BE49-F238E27FC236}">
                <a16:creationId xmlns:a16="http://schemas.microsoft.com/office/drawing/2014/main" id="{6A732488-84A2-44C2-BAA2-314C845A7191}"/>
              </a:ext>
            </a:extLst>
          </p:cNvPr>
          <p:cNvPicPr>
            <a:picLocks noChangeAspect="1"/>
          </p:cNvPicPr>
          <p:nvPr/>
        </p:nvPicPr>
        <p:blipFill>
          <a:blip r:embed="rId2"/>
          <a:stretch>
            <a:fillRect/>
          </a:stretch>
        </p:blipFill>
        <p:spPr>
          <a:xfrm>
            <a:off x="9596154" y="46153"/>
            <a:ext cx="2402547" cy="1372884"/>
          </a:xfrm>
          <a:prstGeom prst="rect">
            <a:avLst/>
          </a:prstGeom>
        </p:spPr>
      </p:pic>
      <p:sp>
        <p:nvSpPr>
          <p:cNvPr id="9" name="Oval 8">
            <a:extLst>
              <a:ext uri="{FF2B5EF4-FFF2-40B4-BE49-F238E27FC236}">
                <a16:creationId xmlns:a16="http://schemas.microsoft.com/office/drawing/2014/main" id="{9F87775A-9F2C-4E0F-A9A1-62662E8A4023}"/>
              </a:ext>
            </a:extLst>
          </p:cNvPr>
          <p:cNvSpPr/>
          <p:nvPr/>
        </p:nvSpPr>
        <p:spPr>
          <a:xfrm>
            <a:off x="9596154" y="603845"/>
            <a:ext cx="1602677" cy="38504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pic>
        <p:nvPicPr>
          <p:cNvPr id="6" name="Picture 9">
            <a:extLst>
              <a:ext uri="{FF2B5EF4-FFF2-40B4-BE49-F238E27FC236}">
                <a16:creationId xmlns:a16="http://schemas.microsoft.com/office/drawing/2014/main" id="{87311F98-ABC9-456D-AB4A-D75361C3EEDE}"/>
              </a:ext>
            </a:extLst>
          </p:cNvPr>
          <p:cNvPicPr>
            <a:picLocks noChangeAspect="1"/>
          </p:cNvPicPr>
          <p:nvPr/>
        </p:nvPicPr>
        <p:blipFill>
          <a:blip r:embed="rId3"/>
          <a:stretch>
            <a:fillRect/>
          </a:stretch>
        </p:blipFill>
        <p:spPr>
          <a:xfrm>
            <a:off x="537991" y="1847516"/>
            <a:ext cx="10675343" cy="3043619"/>
          </a:xfrm>
          <a:prstGeom prst="rect">
            <a:avLst/>
          </a:prstGeom>
        </p:spPr>
      </p:pic>
    </p:spTree>
    <p:extLst>
      <p:ext uri="{BB962C8B-B14F-4D97-AF65-F5344CB8AC3E}">
        <p14:creationId xmlns:p14="http://schemas.microsoft.com/office/powerpoint/2010/main" val="40917147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F09A6-CFD3-4568-B245-4764511495EB}"/>
              </a:ext>
            </a:extLst>
          </p:cNvPr>
          <p:cNvSpPr>
            <a:spLocks noGrp="1"/>
          </p:cNvSpPr>
          <p:nvPr>
            <p:ph type="title"/>
          </p:nvPr>
        </p:nvSpPr>
        <p:spPr/>
        <p:txBody>
          <a:bodyPr/>
          <a:lstStyle/>
          <a:p>
            <a:r>
              <a:rPr lang="en-GB"/>
              <a:t>Oversight Framework – Outwards Reinsurance</a:t>
            </a:r>
          </a:p>
        </p:txBody>
      </p:sp>
      <p:sp>
        <p:nvSpPr>
          <p:cNvPr id="3" name="Text Placeholder 2">
            <a:extLst>
              <a:ext uri="{FF2B5EF4-FFF2-40B4-BE49-F238E27FC236}">
                <a16:creationId xmlns:a16="http://schemas.microsoft.com/office/drawing/2014/main" id="{E4C7E049-DDD3-4664-A978-57CD0D06A388}"/>
              </a:ext>
            </a:extLst>
          </p:cNvPr>
          <p:cNvSpPr>
            <a:spLocks noGrp="1"/>
          </p:cNvSpPr>
          <p:nvPr>
            <p:ph type="body" sz="quarter" idx="16"/>
          </p:nvPr>
        </p:nvSpPr>
        <p:spPr>
          <a:xfrm>
            <a:off x="531812" y="5667126"/>
            <a:ext cx="10679113" cy="902874"/>
          </a:xfrm>
        </p:spPr>
        <p:txBody>
          <a:bodyPr/>
          <a:lstStyle/>
          <a:p>
            <a:pPr algn="l"/>
            <a:r>
              <a:rPr lang="en-GB">
                <a:ea typeface="+mn-lt"/>
                <a:cs typeface="+mn-lt"/>
              </a:rPr>
              <a:t>There will be continuous quantitative and qualitative assessment of materiality and maturity and data accuracy through the year based on Lloyd's interactions with Managing Agents, syndicate returns (such as QMA, QMB, SRS, RDS) and document review. </a:t>
            </a:r>
            <a:endParaRPr lang="en-GB">
              <a:cs typeface="Arial"/>
            </a:endParaRPr>
          </a:p>
        </p:txBody>
      </p:sp>
      <p:sp>
        <p:nvSpPr>
          <p:cNvPr id="4" name="Text Placeholder 3">
            <a:extLst>
              <a:ext uri="{FF2B5EF4-FFF2-40B4-BE49-F238E27FC236}">
                <a16:creationId xmlns:a16="http://schemas.microsoft.com/office/drawing/2014/main" id="{CCB18E58-A53A-4BEB-A6B6-50B5F1DE3FCC}"/>
              </a:ext>
            </a:extLst>
          </p:cNvPr>
          <p:cNvSpPr>
            <a:spLocks noGrp="1"/>
          </p:cNvSpPr>
          <p:nvPr>
            <p:ph type="body" sz="quarter" idx="17"/>
          </p:nvPr>
        </p:nvSpPr>
        <p:spPr/>
        <p:txBody>
          <a:bodyPr/>
          <a:lstStyle/>
          <a:p>
            <a:r>
              <a:rPr lang="en-GB">
                <a:solidFill>
                  <a:schemeClr val="accent1"/>
                </a:solidFill>
              </a:rPr>
              <a:t>Annual cycle of activity </a:t>
            </a:r>
          </a:p>
        </p:txBody>
      </p:sp>
      <p:pic>
        <p:nvPicPr>
          <p:cNvPr id="6" name="Picture 5">
            <a:extLst>
              <a:ext uri="{FF2B5EF4-FFF2-40B4-BE49-F238E27FC236}">
                <a16:creationId xmlns:a16="http://schemas.microsoft.com/office/drawing/2014/main" id="{9F2ABAA4-21FB-4F8C-B100-093C96245FA7}"/>
              </a:ext>
            </a:extLst>
          </p:cNvPr>
          <p:cNvPicPr>
            <a:picLocks noChangeAspect="1"/>
          </p:cNvPicPr>
          <p:nvPr/>
        </p:nvPicPr>
        <p:blipFill>
          <a:blip r:embed="rId2"/>
          <a:stretch>
            <a:fillRect/>
          </a:stretch>
        </p:blipFill>
        <p:spPr>
          <a:xfrm>
            <a:off x="9596154" y="46153"/>
            <a:ext cx="2402547" cy="1372884"/>
          </a:xfrm>
          <a:prstGeom prst="rect">
            <a:avLst/>
          </a:prstGeom>
        </p:spPr>
      </p:pic>
      <p:sp>
        <p:nvSpPr>
          <p:cNvPr id="7" name="Oval 6">
            <a:extLst>
              <a:ext uri="{FF2B5EF4-FFF2-40B4-BE49-F238E27FC236}">
                <a16:creationId xmlns:a16="http://schemas.microsoft.com/office/drawing/2014/main" id="{D398B97E-F3B9-4164-BA58-5DFBDB6D7E36}"/>
              </a:ext>
            </a:extLst>
          </p:cNvPr>
          <p:cNvSpPr/>
          <p:nvPr/>
        </p:nvSpPr>
        <p:spPr>
          <a:xfrm>
            <a:off x="10368447" y="988666"/>
            <a:ext cx="841413" cy="40069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graphicFrame>
        <p:nvGraphicFramePr>
          <p:cNvPr id="144" name="Diagram 143">
            <a:extLst>
              <a:ext uri="{FF2B5EF4-FFF2-40B4-BE49-F238E27FC236}">
                <a16:creationId xmlns:a16="http://schemas.microsoft.com/office/drawing/2014/main" id="{733B8136-80D2-44ED-82B4-12866B4B9233}"/>
              </a:ext>
            </a:extLst>
          </p:cNvPr>
          <p:cNvGraphicFramePr/>
          <p:nvPr/>
        </p:nvGraphicFramePr>
        <p:xfrm>
          <a:off x="2032000" y="1639970"/>
          <a:ext cx="8236140" cy="40935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895980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5848350" cy="1454041"/>
          </a:xfrm>
        </p:spPr>
        <p:txBody>
          <a:bodyPr/>
          <a:lstStyle/>
          <a:p>
            <a:r>
              <a:rPr lang="en-GB"/>
              <a:t>Case studies</a:t>
            </a:r>
          </a:p>
          <a:p>
            <a:r>
              <a:rPr lang="en-GB" sz="2000">
                <a:cs typeface="Arial"/>
              </a:rPr>
              <a:t>Bringing the Framework to life</a:t>
            </a:r>
            <a:endParaRPr lang="en-GB" sz="2000"/>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vert="horz" lIns="0" tIns="0" rIns="0" bIns="0" rtlCol="0" anchor="t">
            <a:noAutofit/>
          </a:bodyPr>
          <a:lstStyle/>
          <a:p>
            <a:r>
              <a:rPr lang="en-GB"/>
              <a:t>Dominic Thomas</a:t>
            </a:r>
          </a:p>
        </p:txBody>
      </p:sp>
    </p:spTree>
    <p:extLst>
      <p:ext uri="{BB962C8B-B14F-4D97-AF65-F5344CB8AC3E}">
        <p14:creationId xmlns:p14="http://schemas.microsoft.com/office/powerpoint/2010/main" val="32804978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9">
            <a:extLst>
              <a:ext uri="{FF2B5EF4-FFF2-40B4-BE49-F238E27FC236}">
                <a16:creationId xmlns:a16="http://schemas.microsoft.com/office/drawing/2014/main" id="{CBD85460-F9C9-464E-BFB9-6AE23DE243BE}"/>
              </a:ext>
            </a:extLst>
          </p:cNvPr>
          <p:cNvPicPr>
            <a:picLocks noChangeAspect="1"/>
          </p:cNvPicPr>
          <p:nvPr/>
        </p:nvPicPr>
        <p:blipFill rotWithShape="1">
          <a:blip r:embed="rId3"/>
          <a:srcRect b="13312"/>
          <a:stretch/>
        </p:blipFill>
        <p:spPr>
          <a:xfrm>
            <a:off x="490105" y="1570508"/>
            <a:ext cx="4525180" cy="4678008"/>
          </a:xfrm>
          <a:prstGeom prst="rect">
            <a:avLst/>
          </a:prstGeom>
        </p:spPr>
      </p:pic>
      <p:sp>
        <p:nvSpPr>
          <p:cNvPr id="2" name="Content Placeholder 1">
            <a:extLst>
              <a:ext uri="{FF2B5EF4-FFF2-40B4-BE49-F238E27FC236}">
                <a16:creationId xmlns:a16="http://schemas.microsoft.com/office/drawing/2014/main" id="{1E7D6A88-2899-4BFB-B52B-B791DFC7F5A3}"/>
              </a:ext>
            </a:extLst>
          </p:cNvPr>
          <p:cNvSpPr>
            <a:spLocks noGrp="1"/>
          </p:cNvSpPr>
          <p:nvPr>
            <p:ph idx="1"/>
          </p:nvPr>
        </p:nvSpPr>
        <p:spPr>
          <a:xfrm>
            <a:off x="539999" y="1638606"/>
            <a:ext cx="11160000" cy="4679950"/>
          </a:xfrm>
        </p:spPr>
        <p:txBody>
          <a:bodyPr/>
          <a:lstStyle/>
          <a:p>
            <a:pPr lvl="1"/>
            <a:endParaRPr lang="en-GB" sz="1600" b="1"/>
          </a:p>
          <a:p>
            <a:pPr marL="342900" lvl="1" indent="-342900">
              <a:buFont typeface="Arial" panose="020B0604020202020204" pitchFamily="34" charset="0"/>
              <a:buChar char="•"/>
            </a:pPr>
            <a:endParaRPr lang="en-GB" sz="1600" b="1"/>
          </a:p>
          <a:p>
            <a:pPr lvl="1"/>
            <a:endParaRPr lang="en-GB" b="1"/>
          </a:p>
          <a:p>
            <a:pPr lvl="1"/>
            <a:endParaRPr lang="en-GB"/>
          </a:p>
        </p:txBody>
      </p:sp>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dirty="0"/>
              <a:t>Case Study 1: Syndicate X </a:t>
            </a:r>
          </a:p>
        </p:txBody>
      </p:sp>
      <p:sp>
        <p:nvSpPr>
          <p:cNvPr id="4" name="Rectangle 3">
            <a:extLst>
              <a:ext uri="{FF2B5EF4-FFF2-40B4-BE49-F238E27FC236}">
                <a16:creationId xmlns:a16="http://schemas.microsoft.com/office/drawing/2014/main" id="{C2C59914-0C93-4DD3-9C76-066C75D890CE}"/>
              </a:ext>
            </a:extLst>
          </p:cNvPr>
          <p:cNvSpPr/>
          <p:nvPr/>
        </p:nvSpPr>
        <p:spPr>
          <a:xfrm>
            <a:off x="5970901" y="2188951"/>
            <a:ext cx="5729097" cy="3137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00" b="1" dirty="0"/>
              <a:t>Syndicate X – Sub-Principle 1</a:t>
            </a:r>
          </a:p>
          <a:p>
            <a:endParaRPr lang="en-GB" sz="1000" b="1">
              <a:cs typeface="Arial"/>
            </a:endParaRPr>
          </a:p>
          <a:p>
            <a:r>
              <a:rPr lang="en-GB" sz="1000" b="1" dirty="0">
                <a:ea typeface="+mn-lt"/>
                <a:cs typeface="+mn-lt"/>
              </a:rPr>
              <a:t>Perceived Outcomes</a:t>
            </a:r>
          </a:p>
          <a:p>
            <a:r>
              <a:rPr lang="en-GB" sz="1000" dirty="0">
                <a:ea typeface="+mn-lt"/>
                <a:cs typeface="+mn-lt"/>
              </a:rPr>
              <a:t>Syndicate's Reinsurance Strategy and Purchasing Plans are subject to a strong independent review process with senior management involved pre- and post-placement.</a:t>
            </a:r>
          </a:p>
          <a:p>
            <a:endParaRPr lang="en-GB" sz="1000" b="1">
              <a:ea typeface="+mn-lt"/>
              <a:cs typeface="+mn-lt"/>
            </a:endParaRPr>
          </a:p>
          <a:p>
            <a:r>
              <a:rPr lang="en-GB" sz="1000" b="1" dirty="0">
                <a:ea typeface="+mn-lt"/>
                <a:cs typeface="+mn-lt"/>
              </a:rPr>
              <a:t>How do we know this? </a:t>
            </a:r>
            <a:endParaRPr lang="en-GB" dirty="0"/>
          </a:p>
          <a:p>
            <a:r>
              <a:rPr lang="en-GB" sz="1000" dirty="0"/>
              <a:t>Strong knowledge of Outwards Reinsurance placements as part of regular discussions with senior management. Syndicate Performance Managers report that purchases are discussed as part of their regular meetings and provide meeting packs that closely align to the purchasing strategy discuss with the syndicate's Outwards Reinsurance team. </a:t>
            </a:r>
            <a:endParaRPr lang="en-GB" sz="1000" dirty="0">
              <a:cs typeface="Arial"/>
            </a:endParaRPr>
          </a:p>
          <a:p>
            <a:endParaRPr lang="en-GB" sz="1000">
              <a:cs typeface="Arial"/>
            </a:endParaRPr>
          </a:p>
          <a:p>
            <a:r>
              <a:rPr lang="en-GB" sz="1000" dirty="0">
                <a:cs typeface="Arial"/>
              </a:rPr>
              <a:t>Actuarial review is presented to the Lloyd's ORI team as part of wash-up meetings showing the differences between the planned structures and those purchased. </a:t>
            </a:r>
          </a:p>
          <a:p>
            <a:endParaRPr lang="en-GB" sz="1000"/>
          </a:p>
          <a:p>
            <a:endParaRPr lang="en-GB" sz="1000"/>
          </a:p>
          <a:p>
            <a:r>
              <a:rPr lang="en-GB" sz="1000" b="1" dirty="0"/>
              <a:t>Managing Agent rating</a:t>
            </a:r>
            <a:endParaRPr lang="en-GB" sz="1000" b="1" dirty="0">
              <a:cs typeface="Arial"/>
            </a:endParaRPr>
          </a:p>
          <a:p>
            <a:r>
              <a:rPr lang="en-GB" sz="1000" dirty="0"/>
              <a:t>Expected Maturity – Intermediate</a:t>
            </a:r>
            <a:endParaRPr lang="en-GB" sz="1000" dirty="0">
              <a:cs typeface="Arial"/>
            </a:endParaRPr>
          </a:p>
          <a:p>
            <a:r>
              <a:rPr lang="en-GB" sz="1000" dirty="0"/>
              <a:t>Actual Maturity - Established</a:t>
            </a:r>
            <a:endParaRPr lang="en-GB" sz="1000" dirty="0">
              <a:cs typeface="Arial"/>
            </a:endParaRPr>
          </a:p>
        </p:txBody>
      </p:sp>
      <p:sp>
        <p:nvSpPr>
          <p:cNvPr id="5" name="Rectangle 4">
            <a:extLst>
              <a:ext uri="{FF2B5EF4-FFF2-40B4-BE49-F238E27FC236}">
                <a16:creationId xmlns:a16="http://schemas.microsoft.com/office/drawing/2014/main" id="{A9B8F96A-166A-4511-A93E-DF43CE759747}"/>
              </a:ext>
            </a:extLst>
          </p:cNvPr>
          <p:cNvSpPr/>
          <p:nvPr/>
        </p:nvSpPr>
        <p:spPr>
          <a:xfrm>
            <a:off x="2860545" y="3785215"/>
            <a:ext cx="1048060" cy="152692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9" name="Text Placeholder 8">
            <a:extLst>
              <a:ext uri="{FF2B5EF4-FFF2-40B4-BE49-F238E27FC236}">
                <a16:creationId xmlns:a16="http://schemas.microsoft.com/office/drawing/2014/main" id="{945C64BA-75BB-44FE-B204-A4A58FC04452}"/>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551881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10" descr="Table&#10;&#10;Description automatically generated">
            <a:extLst>
              <a:ext uri="{FF2B5EF4-FFF2-40B4-BE49-F238E27FC236}">
                <a16:creationId xmlns:a16="http://schemas.microsoft.com/office/drawing/2014/main" id="{6CFA0A73-A3BC-4B8F-B6E8-F1C838C10A5E}"/>
              </a:ext>
            </a:extLst>
          </p:cNvPr>
          <p:cNvPicPr>
            <a:picLocks noChangeAspect="1"/>
          </p:cNvPicPr>
          <p:nvPr/>
        </p:nvPicPr>
        <p:blipFill>
          <a:blip r:embed="rId3"/>
          <a:stretch>
            <a:fillRect/>
          </a:stretch>
        </p:blipFill>
        <p:spPr>
          <a:xfrm>
            <a:off x="542158" y="1635540"/>
            <a:ext cx="4502150" cy="3925660"/>
          </a:xfrm>
          <a:prstGeom prst="rect">
            <a:avLst/>
          </a:prstGeom>
        </p:spPr>
      </p:pic>
      <p:sp>
        <p:nvSpPr>
          <p:cNvPr id="2" name="Content Placeholder 1">
            <a:extLst>
              <a:ext uri="{FF2B5EF4-FFF2-40B4-BE49-F238E27FC236}">
                <a16:creationId xmlns:a16="http://schemas.microsoft.com/office/drawing/2014/main" id="{1E7D6A88-2899-4BFB-B52B-B791DFC7F5A3}"/>
              </a:ext>
            </a:extLst>
          </p:cNvPr>
          <p:cNvSpPr>
            <a:spLocks noGrp="1"/>
          </p:cNvSpPr>
          <p:nvPr>
            <p:ph idx="1"/>
          </p:nvPr>
        </p:nvSpPr>
        <p:spPr>
          <a:xfrm>
            <a:off x="539999" y="1638606"/>
            <a:ext cx="11160000" cy="4679950"/>
          </a:xfrm>
        </p:spPr>
        <p:txBody>
          <a:bodyPr/>
          <a:lstStyle/>
          <a:p>
            <a:pPr lvl="1"/>
            <a:endParaRPr lang="en-GB" sz="1600" b="1"/>
          </a:p>
          <a:p>
            <a:pPr marL="342900" lvl="1" indent="-342900">
              <a:buFont typeface="Arial" panose="020B0604020202020204" pitchFamily="34" charset="0"/>
              <a:buChar char="•"/>
            </a:pPr>
            <a:endParaRPr lang="en-GB" sz="1600" b="1"/>
          </a:p>
          <a:p>
            <a:pPr lvl="1"/>
            <a:endParaRPr lang="en-GB" b="1"/>
          </a:p>
          <a:p>
            <a:pPr lvl="1"/>
            <a:endParaRPr lang="en-GB"/>
          </a:p>
        </p:txBody>
      </p:sp>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dirty="0"/>
              <a:t>Case Study: Syndicate X </a:t>
            </a:r>
          </a:p>
        </p:txBody>
      </p:sp>
      <p:sp>
        <p:nvSpPr>
          <p:cNvPr id="4" name="Rectangle 3">
            <a:extLst>
              <a:ext uri="{FF2B5EF4-FFF2-40B4-BE49-F238E27FC236}">
                <a16:creationId xmlns:a16="http://schemas.microsoft.com/office/drawing/2014/main" id="{C2C59914-0C93-4DD3-9C76-066C75D890CE}"/>
              </a:ext>
            </a:extLst>
          </p:cNvPr>
          <p:cNvSpPr/>
          <p:nvPr/>
        </p:nvSpPr>
        <p:spPr>
          <a:xfrm>
            <a:off x="5970901" y="2236576"/>
            <a:ext cx="5729097" cy="313710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GB" sz="1000" b="1" dirty="0">
                <a:solidFill>
                  <a:srgbClr val="FFFFFF"/>
                </a:solidFill>
              </a:rPr>
              <a:t>Syndicate X – Sub-Principle 4</a:t>
            </a:r>
            <a:endParaRPr lang="en-GB" sz="1000" b="1" dirty="0">
              <a:solidFill>
                <a:srgbClr val="FFFFFF"/>
              </a:solidFill>
              <a:cs typeface="Arial"/>
            </a:endParaRPr>
          </a:p>
          <a:p>
            <a:r>
              <a:rPr lang="en-GB" sz="1000" b="1" dirty="0">
                <a:solidFill>
                  <a:srgbClr val="FFFFFF"/>
                </a:solidFill>
              </a:rPr>
              <a:t>Perceived outcomes</a:t>
            </a:r>
            <a:endParaRPr lang="en-GB" sz="1000" b="1" dirty="0">
              <a:solidFill>
                <a:srgbClr val="FFFFFF"/>
              </a:solidFill>
              <a:cs typeface="Arial"/>
            </a:endParaRPr>
          </a:p>
          <a:p>
            <a:r>
              <a:rPr lang="en-GB" sz="1000" dirty="0">
                <a:solidFill>
                  <a:srgbClr val="FFFFFF"/>
                </a:solidFill>
                <a:cs typeface="Arial"/>
              </a:rPr>
              <a:t>External reporting is efficient, timely and seemingly accurate but is not reviewed by multiple levels of management.</a:t>
            </a:r>
          </a:p>
          <a:p>
            <a:endParaRPr lang="en-GB" sz="1000">
              <a:solidFill>
                <a:srgbClr val="FFFFFF"/>
              </a:solidFill>
              <a:cs typeface="Arial"/>
            </a:endParaRPr>
          </a:p>
          <a:p>
            <a:r>
              <a:rPr lang="en-GB" sz="1000" b="1" dirty="0">
                <a:solidFill>
                  <a:srgbClr val="FFFFFF"/>
                </a:solidFill>
              </a:rPr>
              <a:t>How do we know this? </a:t>
            </a:r>
            <a:endParaRPr lang="en-GB" sz="1000" b="1" dirty="0">
              <a:solidFill>
                <a:srgbClr val="FFFFFF"/>
              </a:solidFill>
              <a:cs typeface="Arial"/>
            </a:endParaRPr>
          </a:p>
          <a:p>
            <a:r>
              <a:rPr lang="en-GB" sz="1000" dirty="0">
                <a:solidFill>
                  <a:srgbClr val="FFFFFF"/>
                </a:solidFill>
              </a:rPr>
              <a:t>Whilst the QMA 710 returns are accurately completed there is a lack of communication between the ORI team and senior management. </a:t>
            </a:r>
            <a:endParaRPr lang="en-GB" sz="1000" dirty="0">
              <a:solidFill>
                <a:srgbClr val="FFFFFF"/>
              </a:solidFill>
              <a:cs typeface="Arial"/>
            </a:endParaRPr>
          </a:p>
          <a:p>
            <a:endParaRPr lang="en-GB" sz="1000">
              <a:solidFill>
                <a:srgbClr val="FFFFFF"/>
              </a:solidFill>
              <a:cs typeface="Arial"/>
            </a:endParaRPr>
          </a:p>
          <a:p>
            <a:r>
              <a:rPr lang="en-GB" sz="1000" dirty="0">
                <a:solidFill>
                  <a:srgbClr val="FFFFFF"/>
                </a:solidFill>
                <a:cs typeface="Arial"/>
              </a:rPr>
              <a:t>Aged Debt over 6 months continues to grow materially including with sub-A rated entities. When asked about this senior management is unaware of the issues or the cause. Upon investigation it emerges that the Aged Debt monitoring is not being escalated when triggering KRIs. </a:t>
            </a:r>
          </a:p>
          <a:p>
            <a:endParaRPr lang="en-GB" sz="1000">
              <a:solidFill>
                <a:srgbClr val="FFFFFF"/>
              </a:solidFill>
              <a:cs typeface="Arial"/>
            </a:endParaRPr>
          </a:p>
          <a:p>
            <a:r>
              <a:rPr lang="en-GB" sz="1000" b="1" dirty="0">
                <a:solidFill>
                  <a:srgbClr val="FFFFFF"/>
                </a:solidFill>
              </a:rPr>
              <a:t>Managing Agent rating</a:t>
            </a:r>
            <a:endParaRPr lang="en-GB" sz="1000" b="1" dirty="0">
              <a:solidFill>
                <a:srgbClr val="FFFFFF"/>
              </a:solidFill>
              <a:cs typeface="Arial"/>
            </a:endParaRPr>
          </a:p>
          <a:p>
            <a:r>
              <a:rPr lang="en-GB" sz="1000" dirty="0">
                <a:solidFill>
                  <a:srgbClr val="FFFFFF"/>
                </a:solidFill>
              </a:rPr>
              <a:t>Expected Maturity – Intermediate</a:t>
            </a:r>
            <a:endParaRPr lang="en-GB" sz="1000" dirty="0">
              <a:solidFill>
                <a:srgbClr val="FFFFFF"/>
              </a:solidFill>
              <a:cs typeface="Arial"/>
            </a:endParaRPr>
          </a:p>
          <a:p>
            <a:r>
              <a:rPr lang="en-GB" sz="1000" dirty="0">
                <a:solidFill>
                  <a:srgbClr val="FFFFFF"/>
                </a:solidFill>
              </a:rPr>
              <a:t>Actual Maturity - Foundation</a:t>
            </a:r>
            <a:endParaRPr lang="en-GB" sz="1000" dirty="0" err="1">
              <a:solidFill>
                <a:srgbClr val="FFFFFF"/>
              </a:solidFill>
              <a:cs typeface="Arial"/>
            </a:endParaRPr>
          </a:p>
        </p:txBody>
      </p:sp>
      <p:sp>
        <p:nvSpPr>
          <p:cNvPr id="5" name="Rectangle 4">
            <a:extLst>
              <a:ext uri="{FF2B5EF4-FFF2-40B4-BE49-F238E27FC236}">
                <a16:creationId xmlns:a16="http://schemas.microsoft.com/office/drawing/2014/main" id="{A9B8F96A-166A-4511-A93E-DF43CE759747}"/>
              </a:ext>
            </a:extLst>
          </p:cNvPr>
          <p:cNvSpPr/>
          <p:nvPr/>
        </p:nvSpPr>
        <p:spPr>
          <a:xfrm>
            <a:off x="2906363" y="4686423"/>
            <a:ext cx="1052714" cy="75720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13" name="Rectangle 12">
            <a:extLst>
              <a:ext uri="{FF2B5EF4-FFF2-40B4-BE49-F238E27FC236}">
                <a16:creationId xmlns:a16="http://schemas.microsoft.com/office/drawing/2014/main" id="{A944983F-0B71-46BA-9488-221B110BFED5}"/>
              </a:ext>
            </a:extLst>
          </p:cNvPr>
          <p:cNvSpPr/>
          <p:nvPr/>
        </p:nvSpPr>
        <p:spPr>
          <a:xfrm>
            <a:off x="788638" y="4558546"/>
            <a:ext cx="1060706" cy="46991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14" name="Rectangle 13">
            <a:extLst>
              <a:ext uri="{FF2B5EF4-FFF2-40B4-BE49-F238E27FC236}">
                <a16:creationId xmlns:a16="http://schemas.microsoft.com/office/drawing/2014/main" id="{3C2A0151-5C93-4782-B896-C277ED5DE80C}"/>
              </a:ext>
            </a:extLst>
          </p:cNvPr>
          <p:cNvSpPr/>
          <p:nvPr/>
        </p:nvSpPr>
        <p:spPr>
          <a:xfrm>
            <a:off x="1843833" y="2394729"/>
            <a:ext cx="1062403" cy="16522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7" name="Text Placeholder 6">
            <a:extLst>
              <a:ext uri="{FF2B5EF4-FFF2-40B4-BE49-F238E27FC236}">
                <a16:creationId xmlns:a16="http://schemas.microsoft.com/office/drawing/2014/main" id="{F07DB370-0D1C-4AA2-BE56-4DBD8A8F7B0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660839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5848350" cy="1454041"/>
          </a:xfrm>
        </p:spPr>
        <p:txBody>
          <a:bodyPr/>
          <a:lstStyle/>
          <a:p>
            <a:r>
              <a:rPr lang="en-GB"/>
              <a:t>Oversight Framework: </a:t>
            </a:r>
            <a:endParaRPr lang="en-GB">
              <a:cs typeface="Arial"/>
            </a:endParaRPr>
          </a:p>
          <a:p>
            <a:r>
              <a:rPr lang="en-GB" sz="3200" b="0" i="1"/>
              <a:t>Overview of broader framework</a:t>
            </a:r>
          </a:p>
          <a:p>
            <a:endParaRPr lang="en-GB"/>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a:lstStyle/>
          <a:p>
            <a:r>
              <a:rPr lang="en-GB"/>
              <a:t>Lyndsay Deeves</a:t>
            </a:r>
          </a:p>
          <a:p>
            <a:r>
              <a:rPr lang="en-GB" i="1"/>
              <a:t>Pre-recorded</a:t>
            </a:r>
          </a:p>
        </p:txBody>
      </p:sp>
    </p:spTree>
    <p:extLst>
      <p:ext uri="{BB962C8B-B14F-4D97-AF65-F5344CB8AC3E}">
        <p14:creationId xmlns:p14="http://schemas.microsoft.com/office/powerpoint/2010/main" val="921386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2CB6E-C260-4465-9970-9A27AAF8CFB1}"/>
              </a:ext>
            </a:extLst>
          </p:cNvPr>
          <p:cNvSpPr>
            <a:spLocks noGrp="1"/>
          </p:cNvSpPr>
          <p:nvPr>
            <p:ph type="title"/>
          </p:nvPr>
        </p:nvSpPr>
        <p:spPr/>
        <p:txBody>
          <a:bodyPr/>
          <a:lstStyle/>
          <a:p>
            <a:r>
              <a:rPr lang="en-GB" dirty="0"/>
              <a:t>Case Study 1: Syndicate X</a:t>
            </a:r>
            <a:endParaRPr lang="en-GB" dirty="0">
              <a:cs typeface="Arial"/>
            </a:endParaRPr>
          </a:p>
        </p:txBody>
      </p:sp>
      <p:sp>
        <p:nvSpPr>
          <p:cNvPr id="3" name="Text Placeholder 2">
            <a:extLst>
              <a:ext uri="{FF2B5EF4-FFF2-40B4-BE49-F238E27FC236}">
                <a16:creationId xmlns:a16="http://schemas.microsoft.com/office/drawing/2014/main" id="{B1B62ABD-57E9-4359-9FF2-9FF17E6C1FF4}"/>
              </a:ext>
            </a:extLst>
          </p:cNvPr>
          <p:cNvSpPr>
            <a:spLocks noGrp="1"/>
          </p:cNvSpPr>
          <p:nvPr>
            <p:ph type="body" sz="quarter" idx="16"/>
          </p:nvPr>
        </p:nvSpPr>
        <p:spPr>
          <a:xfrm>
            <a:off x="6051176" y="6318000"/>
            <a:ext cx="5114925" cy="252000"/>
          </a:xfrm>
        </p:spPr>
        <p:txBody>
          <a:bodyPr/>
          <a:lstStyle/>
          <a:p>
            <a:endParaRPr lang="en-GB"/>
          </a:p>
        </p:txBody>
      </p:sp>
      <p:graphicFrame>
        <p:nvGraphicFramePr>
          <p:cNvPr id="6" name="Table 5">
            <a:extLst>
              <a:ext uri="{FF2B5EF4-FFF2-40B4-BE49-F238E27FC236}">
                <a16:creationId xmlns:a16="http://schemas.microsoft.com/office/drawing/2014/main" id="{9125896F-FD58-4087-A9A8-D474C2823A56}"/>
              </a:ext>
            </a:extLst>
          </p:cNvPr>
          <p:cNvGraphicFramePr>
            <a:graphicFrameLocks noGrp="1"/>
          </p:cNvGraphicFramePr>
          <p:nvPr>
            <p:extLst>
              <p:ext uri="{D42A27DB-BD31-4B8C-83A1-F6EECF244321}">
                <p14:modId xmlns:p14="http://schemas.microsoft.com/office/powerpoint/2010/main" val="3243597705"/>
              </p:ext>
            </p:extLst>
          </p:nvPr>
        </p:nvGraphicFramePr>
        <p:xfrm>
          <a:off x="533400" y="1687513"/>
          <a:ext cx="7386775" cy="3359951"/>
        </p:xfrm>
        <a:graphic>
          <a:graphicData uri="http://schemas.openxmlformats.org/drawingml/2006/table">
            <a:tbl>
              <a:tblPr/>
              <a:tblGrid>
                <a:gridCol w="1346200">
                  <a:extLst>
                    <a:ext uri="{9D8B030D-6E8A-4147-A177-3AD203B41FA5}">
                      <a16:colId xmlns:a16="http://schemas.microsoft.com/office/drawing/2014/main" val="2147748649"/>
                    </a:ext>
                  </a:extLst>
                </a:gridCol>
                <a:gridCol w="4600575">
                  <a:extLst>
                    <a:ext uri="{9D8B030D-6E8A-4147-A177-3AD203B41FA5}">
                      <a16:colId xmlns:a16="http://schemas.microsoft.com/office/drawing/2014/main" val="1663432767"/>
                    </a:ext>
                  </a:extLst>
                </a:gridCol>
                <a:gridCol w="720000">
                  <a:extLst>
                    <a:ext uri="{9D8B030D-6E8A-4147-A177-3AD203B41FA5}">
                      <a16:colId xmlns:a16="http://schemas.microsoft.com/office/drawing/2014/main" val="1960314119"/>
                    </a:ext>
                  </a:extLst>
                </a:gridCol>
                <a:gridCol w="720000">
                  <a:extLst>
                    <a:ext uri="{9D8B030D-6E8A-4147-A177-3AD203B41FA5}">
                      <a16:colId xmlns:a16="http://schemas.microsoft.com/office/drawing/2014/main" val="228821453"/>
                    </a:ext>
                  </a:extLst>
                </a:gridCol>
              </a:tblGrid>
              <a:tr h="1078367">
                <a:tc gridSpan="2">
                  <a:txBody>
                    <a:bodyPr/>
                    <a:lstStyle/>
                    <a:p>
                      <a:pPr algn="ctr" fontAlgn="ctr"/>
                      <a:r>
                        <a:rPr lang="en-GB" sz="800" b="1" i="0" u="none" strike="noStrike">
                          <a:solidFill>
                            <a:srgbClr val="000000"/>
                          </a:solidFill>
                          <a:effectLst/>
                          <a:latin typeface="Arial"/>
                        </a:rPr>
                        <a:t>Principl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GB"/>
                    </a:p>
                  </a:txBody>
                  <a:tcPr/>
                </a:tc>
                <a:tc>
                  <a:txBody>
                    <a:bodyPr/>
                    <a:lstStyle/>
                    <a:p>
                      <a:pPr algn="ctr" fontAlgn="ctr"/>
                      <a:r>
                        <a:rPr lang="en-GB" sz="800" b="1" i="0" u="none" strike="noStrike">
                          <a:solidFill>
                            <a:srgbClr val="000000"/>
                          </a:solidFill>
                          <a:effectLst/>
                          <a:latin typeface="Arial"/>
                        </a:rPr>
                        <a:t>Expected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ctr" fontAlgn="ctr"/>
                      <a:r>
                        <a:rPr lang="en-GB" sz="800" b="1" i="0" u="none" strike="noStrike">
                          <a:solidFill>
                            <a:srgbClr val="000000"/>
                          </a:solidFill>
                          <a:effectLst/>
                          <a:latin typeface="Arial"/>
                        </a:rPr>
                        <a:t>Assessment of Agent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extLst>
                  <a:ext uri="{0D108BD9-81ED-4DB2-BD59-A6C34878D82A}">
                    <a16:rowId xmlns:a16="http://schemas.microsoft.com/office/drawing/2014/main" val="4040789284"/>
                  </a:ext>
                </a:extLst>
              </a:tr>
              <a:tr h="771964">
                <a:tc gridSpan="2">
                  <a:txBody>
                    <a:bodyPr/>
                    <a:lstStyle/>
                    <a:p>
                      <a:pPr lvl="0" algn="l">
                        <a:lnSpc>
                          <a:spcPct val="100000"/>
                        </a:lnSpc>
                        <a:spcBef>
                          <a:spcPts val="0"/>
                        </a:spcBef>
                        <a:spcAft>
                          <a:spcPts val="0"/>
                        </a:spcAft>
                        <a:buNone/>
                      </a:pPr>
                      <a:r>
                        <a:rPr lang="en-GB" sz="800" b="1" i="0" u="none" strike="noStrike" noProof="0">
                          <a:effectLst/>
                        </a:rPr>
                        <a:t>3. Outwards Reinsurance</a:t>
                      </a:r>
                      <a:br>
                        <a:rPr lang="en-GB" sz="800" b="1" i="0" u="none" strike="noStrike" noProof="0">
                          <a:effectLst/>
                        </a:rPr>
                      </a:br>
                      <a:r>
                        <a:rPr lang="en-GB" sz="800" b="1" i="0" u="none" strike="noStrike" noProof="0">
                          <a:effectLst/>
                        </a:rPr>
                        <a:t> </a:t>
                      </a:r>
                      <a:r>
                        <a:rPr lang="en-GB" sz="800" b="0" i="0" u="none" strike="noStrike" noProof="0">
                          <a:effectLst/>
                        </a:rPr>
                        <a:t>Managing agents should define and execute syndicate outwards reinsurance strategy and purchasing plans which effectively support the wider syndicate business strategy and objectives.  </a:t>
                      </a:r>
                      <a:endParaRPr lang="en-US"/>
                    </a:p>
                    <a:p>
                      <a:pPr lvl="0" algn="l">
                        <a:buNone/>
                      </a:pPr>
                      <a:r>
                        <a:rPr lang="en-GB" sz="800" b="0" i="0" u="none" strike="noStrike" noProof="0">
                          <a:effectLst/>
                        </a:rPr>
                        <a:t>To support this, managing agents should ensure their syndicates':</a:t>
                      </a:r>
                      <a:endParaRPr lang="en-GB"/>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241000660"/>
                  </a:ext>
                </a:extLst>
              </a:tr>
              <a:tr h="377405">
                <a:tc>
                  <a:txBody>
                    <a:bodyPr/>
                    <a:lstStyle/>
                    <a:p>
                      <a:pPr algn="ctr" fontAlgn="ctr"/>
                      <a:r>
                        <a:rPr lang="en-GB" sz="800" b="0" i="0" u="none" strike="noStrike">
                          <a:solidFill>
                            <a:srgbClr val="000000"/>
                          </a:solidFill>
                          <a:effectLst/>
                          <a:latin typeface="Arial"/>
                        </a:rPr>
                        <a:t>Sub Principle 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Outwards reinsurance strategies and purchasing plans are robust and reflect underwriting, exposure and capital management / appetites of each individual syndicate, and the best interests of the members of the syndicate.</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lvl="0" algn="ctr">
                        <a:buNone/>
                      </a:pPr>
                      <a:r>
                        <a:rPr lang="en-GB" sz="800" b="1" i="0" u="none" strike="noStrike">
                          <a:solidFill>
                            <a:srgbClr val="FFFFFF"/>
                          </a:solidFill>
                          <a:effectLst/>
                          <a:latin typeface="Arial"/>
                        </a:rPr>
                        <a:t>Established</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2798665629"/>
                  </a:ext>
                </a:extLst>
              </a:tr>
              <a:tr h="377405">
                <a:tc>
                  <a:txBody>
                    <a:bodyPr/>
                    <a:lstStyle/>
                    <a:p>
                      <a:pPr algn="ctr" fontAlgn="ctr"/>
                      <a:r>
                        <a:rPr lang="en-GB" sz="800" b="0" i="0" u="none" strike="noStrike">
                          <a:solidFill>
                            <a:srgbClr val="000000"/>
                          </a:solidFill>
                          <a:effectLst/>
                          <a:latin typeface="Arial"/>
                        </a:rPr>
                        <a:t>Sub Principle 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Have appropriate systems, controls, procedures and expertise to enable the effective management of outwards reinsurance purchasing and recoveries.</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95115953"/>
                  </a:ext>
                </a:extLst>
              </a:tr>
              <a:tr h="377405">
                <a:tc>
                  <a:txBody>
                    <a:bodyPr/>
                    <a:lstStyle/>
                    <a:p>
                      <a:pPr algn="ctr" fontAlgn="ctr"/>
                      <a:r>
                        <a:rPr lang="en-GB" sz="800" b="0" i="0" u="none" strike="noStrike">
                          <a:solidFill>
                            <a:srgbClr val="000000"/>
                          </a:solidFill>
                          <a:effectLst/>
                          <a:latin typeface="Arial"/>
                        </a:rPr>
                        <a:t>Sub Principle 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a:buNone/>
                      </a:pPr>
                      <a:r>
                        <a:rPr lang="en-GB" sz="800" b="0" i="0" u="none" strike="noStrike" noProof="0">
                          <a:effectLst/>
                        </a:rPr>
                        <a:t>Live and potential financial, operational, counterparty, contract and liquidity risks arising from outwards reinsurance arrangements are identified, monitored, evaluated and mitigated.</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1214184741"/>
                  </a:ext>
                </a:extLst>
              </a:tr>
              <a:tr h="377405">
                <a:tc>
                  <a:txBody>
                    <a:bodyPr/>
                    <a:lstStyle/>
                    <a:p>
                      <a:pPr algn="ctr" fontAlgn="ctr"/>
                      <a:r>
                        <a:rPr lang="en-GB" sz="800" b="0" i="0" u="none" strike="noStrike">
                          <a:solidFill>
                            <a:srgbClr val="000000"/>
                          </a:solidFill>
                          <a:effectLst/>
                          <a:latin typeface="Arial"/>
                        </a:rPr>
                        <a:t>Sub Principle 4</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Have robust and effective monitoring, reporting and governance frameworks employed over their outwards reinsurance arrangements.</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c>
                  <a:txBody>
                    <a:bodyPr/>
                    <a:lstStyle/>
                    <a:p>
                      <a:pPr algn="ctr" fontAlgn="ctr"/>
                      <a:r>
                        <a:rPr lang="en-GB" sz="800" b="1" i="0" u="none" strike="noStrike">
                          <a:solidFill>
                            <a:srgbClr val="FFFFFF"/>
                          </a:solidFill>
                          <a:effectLst/>
                          <a:latin typeface="Arial"/>
                        </a:rPr>
                        <a:t>Foundation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6298074"/>
                  </a:ext>
                </a:extLst>
              </a:tr>
            </a:tbl>
          </a:graphicData>
        </a:graphic>
      </p:graphicFrame>
      <p:sp>
        <p:nvSpPr>
          <p:cNvPr id="9" name="Rectangle: Rounded Corners 8">
            <a:extLst>
              <a:ext uri="{FF2B5EF4-FFF2-40B4-BE49-F238E27FC236}">
                <a16:creationId xmlns:a16="http://schemas.microsoft.com/office/drawing/2014/main" id="{FC78BFE0-60F3-438E-9BF8-30900F080EF6}"/>
              </a:ext>
            </a:extLst>
          </p:cNvPr>
          <p:cNvSpPr/>
          <p:nvPr/>
        </p:nvSpPr>
        <p:spPr>
          <a:xfrm>
            <a:off x="8246524" y="1750148"/>
            <a:ext cx="3615041" cy="4139234"/>
          </a:xfrm>
          <a:prstGeom prst="roundRect">
            <a:avLst/>
          </a:prstGeom>
          <a:ln/>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pPr algn="ctr"/>
            <a:r>
              <a:rPr lang="en-GB" sz="1600" b="1">
                <a:ea typeface="+mn-lt"/>
                <a:cs typeface="+mn-lt"/>
              </a:rPr>
              <a:t>Overall Rationale</a:t>
            </a:r>
          </a:p>
          <a:p>
            <a:pPr algn="ctr"/>
            <a:endParaRPr lang="en-GB" sz="1600">
              <a:ea typeface="+mn-lt"/>
              <a:cs typeface="+mn-lt"/>
            </a:endParaRPr>
          </a:p>
          <a:p>
            <a:pPr algn="ctr"/>
            <a:r>
              <a:rPr lang="en-GB" sz="1600">
                <a:ea typeface="+mn-lt"/>
                <a:cs typeface="+mn-lt"/>
              </a:rPr>
              <a:t>Syndicate X's senior management has a strong understanding of the ORI strategy and Purchasing Plan but is not keeping this standard across the full operational life-cycle of the purchased cover. </a:t>
            </a:r>
            <a:endParaRPr lang="en-GB"/>
          </a:p>
          <a:p>
            <a:pPr algn="ctr"/>
            <a:endParaRPr lang="en-GB" sz="1600">
              <a:cs typeface="Arial"/>
            </a:endParaRPr>
          </a:p>
          <a:p>
            <a:pPr algn="ctr"/>
            <a:r>
              <a:rPr lang="en-GB" sz="1600">
                <a:cs typeface="Arial"/>
              </a:rPr>
              <a:t>Overall, an Intermediate level is appropriate at this time and the syndicate meets expectations.</a:t>
            </a:r>
          </a:p>
          <a:p>
            <a:pPr algn="ctr"/>
            <a:endParaRPr lang="en-GB" sz="1600">
              <a:cs typeface="Arial"/>
            </a:endParaRPr>
          </a:p>
          <a:p>
            <a:pPr algn="ctr"/>
            <a:endParaRPr lang="en-GB" sz="1600">
              <a:cs typeface="Arial"/>
            </a:endParaRPr>
          </a:p>
        </p:txBody>
      </p:sp>
      <p:sp>
        <p:nvSpPr>
          <p:cNvPr id="7" name="Text Placeholder 6">
            <a:extLst>
              <a:ext uri="{FF2B5EF4-FFF2-40B4-BE49-F238E27FC236}">
                <a16:creationId xmlns:a16="http://schemas.microsoft.com/office/drawing/2014/main" id="{90D9B946-4733-4EE5-A96B-C209C20E840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733330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0">
            <a:extLst>
              <a:ext uri="{FF2B5EF4-FFF2-40B4-BE49-F238E27FC236}">
                <a16:creationId xmlns:a16="http://schemas.microsoft.com/office/drawing/2014/main" id="{885CB77E-1534-42E0-A31B-39EAA8B7B283}"/>
              </a:ext>
            </a:extLst>
          </p:cNvPr>
          <p:cNvPicPr>
            <a:picLocks noChangeAspect="1"/>
          </p:cNvPicPr>
          <p:nvPr/>
        </p:nvPicPr>
        <p:blipFill>
          <a:blip r:embed="rId3"/>
          <a:stretch>
            <a:fillRect/>
          </a:stretch>
        </p:blipFill>
        <p:spPr>
          <a:xfrm>
            <a:off x="533400" y="1541818"/>
            <a:ext cx="4470400" cy="4447464"/>
          </a:xfrm>
          <a:prstGeom prst="rect">
            <a:avLst/>
          </a:prstGeom>
        </p:spPr>
      </p:pic>
      <p:sp>
        <p:nvSpPr>
          <p:cNvPr id="2" name="Content Placeholder 1">
            <a:extLst>
              <a:ext uri="{FF2B5EF4-FFF2-40B4-BE49-F238E27FC236}">
                <a16:creationId xmlns:a16="http://schemas.microsoft.com/office/drawing/2014/main" id="{1E7D6A88-2899-4BFB-B52B-B791DFC7F5A3}"/>
              </a:ext>
            </a:extLst>
          </p:cNvPr>
          <p:cNvSpPr>
            <a:spLocks noGrp="1"/>
          </p:cNvSpPr>
          <p:nvPr>
            <p:ph idx="1"/>
          </p:nvPr>
        </p:nvSpPr>
        <p:spPr>
          <a:xfrm>
            <a:off x="539999" y="1638606"/>
            <a:ext cx="11160000" cy="4679950"/>
          </a:xfrm>
        </p:spPr>
        <p:txBody>
          <a:bodyPr/>
          <a:lstStyle/>
          <a:p>
            <a:pPr lvl="1"/>
            <a:endParaRPr lang="en-GB" sz="1600" b="1"/>
          </a:p>
          <a:p>
            <a:pPr marL="342900" lvl="1" indent="-342900">
              <a:buFont typeface="Arial" panose="020B0604020202020204" pitchFamily="34" charset="0"/>
              <a:buChar char="•"/>
            </a:pPr>
            <a:endParaRPr lang="en-GB" sz="1600" b="1"/>
          </a:p>
          <a:p>
            <a:pPr lvl="1"/>
            <a:endParaRPr lang="en-GB" b="1"/>
          </a:p>
          <a:p>
            <a:pPr lvl="1"/>
            <a:endParaRPr lang="en-GB"/>
          </a:p>
        </p:txBody>
      </p:sp>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dirty="0"/>
              <a:t>Case Study 2: Syndicate Y</a:t>
            </a:r>
          </a:p>
        </p:txBody>
      </p:sp>
      <p:sp>
        <p:nvSpPr>
          <p:cNvPr id="7" name="Rectangle 6">
            <a:extLst>
              <a:ext uri="{FF2B5EF4-FFF2-40B4-BE49-F238E27FC236}">
                <a16:creationId xmlns:a16="http://schemas.microsoft.com/office/drawing/2014/main" id="{6F543ED9-05E8-42E8-8C47-CD244EABBF8E}"/>
              </a:ext>
            </a:extLst>
          </p:cNvPr>
          <p:cNvSpPr/>
          <p:nvPr/>
        </p:nvSpPr>
        <p:spPr>
          <a:xfrm>
            <a:off x="5858333" y="2186506"/>
            <a:ext cx="5729098" cy="27743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GB" sz="1000" b="1" dirty="0"/>
              <a:t>Syndicate Y – Sub-Principle 3</a:t>
            </a:r>
          </a:p>
          <a:p>
            <a:r>
              <a:rPr lang="en-GB" sz="1000" b="1" dirty="0"/>
              <a:t>Perceived outcomes</a:t>
            </a:r>
            <a:endParaRPr lang="en-GB" sz="1000" b="1" dirty="0">
              <a:cs typeface="Arial"/>
            </a:endParaRPr>
          </a:p>
          <a:p>
            <a:r>
              <a:rPr lang="en-GB" sz="1000" dirty="0">
                <a:cs typeface="Arial"/>
              </a:rPr>
              <a:t>Syndicate Y has robust procedures in place for monitoring counterparty features including group concentrations, financial strength and aged debt. </a:t>
            </a:r>
          </a:p>
          <a:p>
            <a:endParaRPr lang="en-GB" sz="1000" i="1">
              <a:cs typeface="Arial"/>
            </a:endParaRPr>
          </a:p>
          <a:p>
            <a:r>
              <a:rPr lang="en-GB" sz="1000" b="1" dirty="0"/>
              <a:t>How do we know this? </a:t>
            </a:r>
            <a:endParaRPr lang="en-GB" sz="1000" b="1" dirty="0">
              <a:cs typeface="Arial"/>
            </a:endParaRPr>
          </a:p>
          <a:p>
            <a:r>
              <a:rPr lang="en-GB" sz="1000" dirty="0">
                <a:ea typeface="+mn-lt"/>
                <a:cs typeface="+mn-lt"/>
              </a:rPr>
              <a:t>Syndicate Y has a long standing relationship with a Global Casualty Reinsurance group with various entities within the group having reinsured the programme over the past decade, owing to this Lloyd’s has asked the syndicate to provide the group level risk appetite statements and monitoring KRIs which the syndicate has done. Aged Debts are very low and the financial strength of both the group and the entities are monitored on a frequent basis. </a:t>
            </a:r>
            <a:endParaRPr lang="en-GB" dirty="0"/>
          </a:p>
          <a:p>
            <a:endParaRPr lang="en-GB" sz="1000"/>
          </a:p>
          <a:p>
            <a:r>
              <a:rPr lang="en-GB" sz="1000" b="1" dirty="0"/>
              <a:t>Managing Agent rating</a:t>
            </a:r>
            <a:endParaRPr lang="en-GB" sz="1000" b="1" dirty="0">
              <a:cs typeface="Arial"/>
            </a:endParaRPr>
          </a:p>
          <a:p>
            <a:r>
              <a:rPr lang="en-GB" sz="1000" dirty="0"/>
              <a:t>Expected Maturity – Foundational</a:t>
            </a:r>
            <a:endParaRPr lang="en-GB" sz="1000" dirty="0">
              <a:cs typeface="Arial"/>
            </a:endParaRPr>
          </a:p>
          <a:p>
            <a:r>
              <a:rPr lang="en-GB" sz="1000" dirty="0"/>
              <a:t>Actual Maturity - Established</a:t>
            </a:r>
            <a:endParaRPr lang="en-GB" sz="1000" dirty="0">
              <a:cs typeface="Arial"/>
            </a:endParaRPr>
          </a:p>
        </p:txBody>
      </p:sp>
      <p:sp>
        <p:nvSpPr>
          <p:cNvPr id="5" name="Rectangle 4">
            <a:extLst>
              <a:ext uri="{FF2B5EF4-FFF2-40B4-BE49-F238E27FC236}">
                <a16:creationId xmlns:a16="http://schemas.microsoft.com/office/drawing/2014/main" id="{A9B8F96A-166A-4511-A93E-DF43CE759747}"/>
              </a:ext>
            </a:extLst>
          </p:cNvPr>
          <p:cNvSpPr/>
          <p:nvPr/>
        </p:nvSpPr>
        <p:spPr>
          <a:xfrm>
            <a:off x="2890435" y="2309086"/>
            <a:ext cx="1047398" cy="21541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9" name="Text Placeholder 8">
            <a:extLst>
              <a:ext uri="{FF2B5EF4-FFF2-40B4-BE49-F238E27FC236}">
                <a16:creationId xmlns:a16="http://schemas.microsoft.com/office/drawing/2014/main" id="{DFE24D22-C86A-4278-A076-E35B87FDA451}"/>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40288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descr="A picture containing text&#10;&#10;Description automatically generated">
            <a:extLst>
              <a:ext uri="{FF2B5EF4-FFF2-40B4-BE49-F238E27FC236}">
                <a16:creationId xmlns:a16="http://schemas.microsoft.com/office/drawing/2014/main" id="{3AD2F5EA-161E-4995-A231-8854BE3D2DA3}"/>
              </a:ext>
            </a:extLst>
          </p:cNvPr>
          <p:cNvPicPr>
            <a:picLocks noChangeAspect="1"/>
          </p:cNvPicPr>
          <p:nvPr/>
        </p:nvPicPr>
        <p:blipFill rotWithShape="1">
          <a:blip r:embed="rId3"/>
          <a:srcRect r="163" b="30388"/>
          <a:stretch/>
        </p:blipFill>
        <p:spPr>
          <a:xfrm>
            <a:off x="492369" y="1571557"/>
            <a:ext cx="4508202" cy="3821650"/>
          </a:xfrm>
          <a:prstGeom prst="rect">
            <a:avLst/>
          </a:prstGeom>
        </p:spPr>
      </p:pic>
      <p:sp>
        <p:nvSpPr>
          <p:cNvPr id="2" name="Content Placeholder 1">
            <a:extLst>
              <a:ext uri="{FF2B5EF4-FFF2-40B4-BE49-F238E27FC236}">
                <a16:creationId xmlns:a16="http://schemas.microsoft.com/office/drawing/2014/main" id="{1E7D6A88-2899-4BFB-B52B-B791DFC7F5A3}"/>
              </a:ext>
            </a:extLst>
          </p:cNvPr>
          <p:cNvSpPr>
            <a:spLocks noGrp="1"/>
          </p:cNvSpPr>
          <p:nvPr>
            <p:ph idx="1"/>
          </p:nvPr>
        </p:nvSpPr>
        <p:spPr>
          <a:xfrm>
            <a:off x="539999" y="1638606"/>
            <a:ext cx="11160000" cy="4679950"/>
          </a:xfrm>
        </p:spPr>
        <p:txBody>
          <a:bodyPr/>
          <a:lstStyle/>
          <a:p>
            <a:pPr lvl="1"/>
            <a:endParaRPr lang="en-GB" sz="1600" b="1"/>
          </a:p>
          <a:p>
            <a:pPr marL="342900" lvl="1" indent="-342900">
              <a:buFont typeface="Arial" panose="020B0604020202020204" pitchFamily="34" charset="0"/>
              <a:buChar char="•"/>
            </a:pPr>
            <a:endParaRPr lang="en-GB" sz="1600" b="1"/>
          </a:p>
          <a:p>
            <a:pPr lvl="1"/>
            <a:endParaRPr lang="en-GB" b="1"/>
          </a:p>
          <a:p>
            <a:pPr lvl="1"/>
            <a:endParaRPr lang="en-GB"/>
          </a:p>
        </p:txBody>
      </p:sp>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dirty="0"/>
              <a:t>Case Study 2: Syndicate Y</a:t>
            </a:r>
          </a:p>
        </p:txBody>
      </p:sp>
      <p:sp>
        <p:nvSpPr>
          <p:cNvPr id="7" name="Rectangle 6">
            <a:extLst>
              <a:ext uri="{FF2B5EF4-FFF2-40B4-BE49-F238E27FC236}">
                <a16:creationId xmlns:a16="http://schemas.microsoft.com/office/drawing/2014/main" id="{6F543ED9-05E8-42E8-8C47-CD244EABBF8E}"/>
              </a:ext>
            </a:extLst>
          </p:cNvPr>
          <p:cNvSpPr/>
          <p:nvPr/>
        </p:nvSpPr>
        <p:spPr>
          <a:xfrm>
            <a:off x="5970901" y="2190836"/>
            <a:ext cx="5729098" cy="277434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lgn="ctr"/>
            <a:r>
              <a:rPr lang="en-GB" sz="1000" b="1" dirty="0">
                <a:solidFill>
                  <a:srgbClr val="FFFFFF"/>
                </a:solidFill>
              </a:rPr>
              <a:t>Syndicate Y – Sub-Principle 2</a:t>
            </a:r>
            <a:endParaRPr lang="en-GB" sz="1000" b="1" dirty="0">
              <a:solidFill>
                <a:srgbClr val="FFFFFF"/>
              </a:solidFill>
              <a:cs typeface="Arial"/>
            </a:endParaRPr>
          </a:p>
          <a:p>
            <a:r>
              <a:rPr lang="en-GB" sz="1000" b="1" dirty="0">
                <a:solidFill>
                  <a:srgbClr val="FFFFFF"/>
                </a:solidFill>
              </a:rPr>
              <a:t>Perceived outcomes</a:t>
            </a:r>
            <a:endParaRPr lang="en-GB" sz="1000" b="1" dirty="0">
              <a:solidFill>
                <a:srgbClr val="FFFFFF"/>
              </a:solidFill>
              <a:cs typeface="Arial"/>
            </a:endParaRPr>
          </a:p>
          <a:p>
            <a:r>
              <a:rPr lang="en-GB" sz="1000" dirty="0">
                <a:solidFill>
                  <a:srgbClr val="FFFFFF"/>
                </a:solidFill>
              </a:rPr>
              <a:t>Whilst Syndicate Y has a consideration of forecast utilisation, erosion and exhaustion at the planning stage, it is not monitoring the shared programmes with appropriate regularity.</a:t>
            </a:r>
            <a:endParaRPr lang="en-GB" sz="1000" dirty="0">
              <a:solidFill>
                <a:srgbClr val="FFFFFF"/>
              </a:solidFill>
              <a:cs typeface="Arial"/>
            </a:endParaRPr>
          </a:p>
          <a:p>
            <a:endParaRPr lang="en-GB" sz="1000" i="1">
              <a:solidFill>
                <a:srgbClr val="FFFFFF"/>
              </a:solidFill>
              <a:cs typeface="Arial"/>
            </a:endParaRPr>
          </a:p>
          <a:p>
            <a:r>
              <a:rPr lang="en-GB" sz="1000" b="1" dirty="0">
                <a:solidFill>
                  <a:srgbClr val="FFFFFF"/>
                </a:solidFill>
              </a:rPr>
              <a:t>How do we know this? </a:t>
            </a:r>
            <a:endParaRPr lang="en-GB" sz="1000" b="1" dirty="0">
              <a:solidFill>
                <a:srgbClr val="FFFFFF"/>
              </a:solidFill>
              <a:cs typeface="Arial"/>
            </a:endParaRPr>
          </a:p>
          <a:p>
            <a:r>
              <a:rPr lang="en-GB" sz="1000" dirty="0">
                <a:solidFill>
                  <a:srgbClr val="FFFFFF"/>
                </a:solidFill>
              </a:rPr>
              <a:t>QMB Reporting indicated an increase in Reinsurance Recoveries, a large portion of which were then removed the following quarter despite no movement in the gross claims. Upon investigation it emerged that the syndicate had not accounted for the utilisation of the coverage by the shared reinsurance contract party.</a:t>
            </a:r>
            <a:endParaRPr lang="en-GB" sz="1000" dirty="0">
              <a:solidFill>
                <a:srgbClr val="FFFFFF"/>
              </a:solidFill>
              <a:cs typeface="Arial"/>
            </a:endParaRPr>
          </a:p>
          <a:p>
            <a:endParaRPr lang="en-GB" sz="1000" dirty="0">
              <a:solidFill>
                <a:srgbClr val="FFFFFF"/>
              </a:solidFill>
              <a:cs typeface="Arial"/>
            </a:endParaRPr>
          </a:p>
          <a:p>
            <a:r>
              <a:rPr lang="en-GB" sz="1000" b="1" dirty="0">
                <a:solidFill>
                  <a:srgbClr val="FFFFFF"/>
                </a:solidFill>
              </a:rPr>
              <a:t>Managing Agent rating</a:t>
            </a:r>
            <a:endParaRPr lang="en-GB" sz="1000" b="1" dirty="0">
              <a:solidFill>
                <a:srgbClr val="FFFFFF"/>
              </a:solidFill>
              <a:cs typeface="Arial"/>
            </a:endParaRPr>
          </a:p>
          <a:p>
            <a:r>
              <a:rPr lang="en-GB" sz="1000" dirty="0">
                <a:solidFill>
                  <a:srgbClr val="FFFFFF"/>
                </a:solidFill>
              </a:rPr>
              <a:t>Expected Maturity – Foundational</a:t>
            </a:r>
            <a:endParaRPr lang="en-GB" sz="1000" dirty="0">
              <a:solidFill>
                <a:srgbClr val="FFFFFF"/>
              </a:solidFill>
              <a:cs typeface="Arial"/>
            </a:endParaRPr>
          </a:p>
          <a:p>
            <a:r>
              <a:rPr lang="en-GB" sz="1000" dirty="0">
                <a:solidFill>
                  <a:srgbClr val="FFFFFF"/>
                </a:solidFill>
              </a:rPr>
              <a:t>Actual Maturity - Foundational</a:t>
            </a:r>
            <a:endParaRPr lang="en-GB" sz="1000" dirty="0">
              <a:solidFill>
                <a:srgbClr val="FFFFFF"/>
              </a:solidFill>
              <a:cs typeface="Arial"/>
            </a:endParaRPr>
          </a:p>
        </p:txBody>
      </p:sp>
      <p:sp>
        <p:nvSpPr>
          <p:cNvPr id="5" name="Rectangle 4">
            <a:extLst>
              <a:ext uri="{FF2B5EF4-FFF2-40B4-BE49-F238E27FC236}">
                <a16:creationId xmlns:a16="http://schemas.microsoft.com/office/drawing/2014/main" id="{A9B8F96A-166A-4511-A93E-DF43CE759747}"/>
              </a:ext>
            </a:extLst>
          </p:cNvPr>
          <p:cNvSpPr/>
          <p:nvPr/>
        </p:nvSpPr>
        <p:spPr>
          <a:xfrm>
            <a:off x="1798892" y="2331804"/>
            <a:ext cx="1067160" cy="49698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11" name="Rectangle 10">
            <a:extLst>
              <a:ext uri="{FF2B5EF4-FFF2-40B4-BE49-F238E27FC236}">
                <a16:creationId xmlns:a16="http://schemas.microsoft.com/office/drawing/2014/main" id="{9BEB6E38-C97A-4C54-B777-FD09D8915F6B}"/>
              </a:ext>
            </a:extLst>
          </p:cNvPr>
          <p:cNvSpPr/>
          <p:nvPr/>
        </p:nvSpPr>
        <p:spPr>
          <a:xfrm>
            <a:off x="744134" y="2331804"/>
            <a:ext cx="1047234" cy="12493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p>
        </p:txBody>
      </p:sp>
      <p:sp>
        <p:nvSpPr>
          <p:cNvPr id="9" name="Text Placeholder 8">
            <a:extLst>
              <a:ext uri="{FF2B5EF4-FFF2-40B4-BE49-F238E27FC236}">
                <a16:creationId xmlns:a16="http://schemas.microsoft.com/office/drawing/2014/main" id="{3383326D-4ECF-44C6-B07E-CC1DCA6641E0}"/>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13686476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2CB6E-C260-4465-9970-9A27AAF8CFB1}"/>
              </a:ext>
            </a:extLst>
          </p:cNvPr>
          <p:cNvSpPr>
            <a:spLocks noGrp="1"/>
          </p:cNvSpPr>
          <p:nvPr>
            <p:ph type="title"/>
          </p:nvPr>
        </p:nvSpPr>
        <p:spPr/>
        <p:txBody>
          <a:bodyPr/>
          <a:lstStyle/>
          <a:p>
            <a:r>
              <a:rPr lang="en-GB" dirty="0">
                <a:ea typeface="+mj-lt"/>
                <a:cs typeface="+mj-lt"/>
              </a:rPr>
              <a:t>Case Study 2: Syndicate Y</a:t>
            </a:r>
            <a:endParaRPr lang="en-US" dirty="0"/>
          </a:p>
        </p:txBody>
      </p:sp>
      <p:sp>
        <p:nvSpPr>
          <p:cNvPr id="3" name="Text Placeholder 2">
            <a:extLst>
              <a:ext uri="{FF2B5EF4-FFF2-40B4-BE49-F238E27FC236}">
                <a16:creationId xmlns:a16="http://schemas.microsoft.com/office/drawing/2014/main" id="{B1B62ABD-57E9-4359-9FF2-9FF17E6C1FF4}"/>
              </a:ext>
            </a:extLst>
          </p:cNvPr>
          <p:cNvSpPr>
            <a:spLocks noGrp="1"/>
          </p:cNvSpPr>
          <p:nvPr>
            <p:ph type="body" sz="quarter" idx="16"/>
          </p:nvPr>
        </p:nvSpPr>
        <p:spPr/>
        <p:txBody>
          <a:bodyPr/>
          <a:lstStyle/>
          <a:p>
            <a:endParaRPr lang="en-GB"/>
          </a:p>
        </p:txBody>
      </p:sp>
      <p:graphicFrame>
        <p:nvGraphicFramePr>
          <p:cNvPr id="6" name="Table 5">
            <a:extLst>
              <a:ext uri="{FF2B5EF4-FFF2-40B4-BE49-F238E27FC236}">
                <a16:creationId xmlns:a16="http://schemas.microsoft.com/office/drawing/2014/main" id="{9125896F-FD58-4087-A9A8-D474C2823A56}"/>
              </a:ext>
            </a:extLst>
          </p:cNvPr>
          <p:cNvGraphicFramePr>
            <a:graphicFrameLocks noGrp="1"/>
          </p:cNvGraphicFramePr>
          <p:nvPr>
            <p:extLst>
              <p:ext uri="{D42A27DB-BD31-4B8C-83A1-F6EECF244321}">
                <p14:modId xmlns:p14="http://schemas.microsoft.com/office/powerpoint/2010/main" val="399631290"/>
              </p:ext>
            </p:extLst>
          </p:nvPr>
        </p:nvGraphicFramePr>
        <p:xfrm>
          <a:off x="533400" y="1687513"/>
          <a:ext cx="7386775" cy="3359951"/>
        </p:xfrm>
        <a:graphic>
          <a:graphicData uri="http://schemas.openxmlformats.org/drawingml/2006/table">
            <a:tbl>
              <a:tblPr/>
              <a:tblGrid>
                <a:gridCol w="1346200">
                  <a:extLst>
                    <a:ext uri="{9D8B030D-6E8A-4147-A177-3AD203B41FA5}">
                      <a16:colId xmlns:a16="http://schemas.microsoft.com/office/drawing/2014/main" val="2147748649"/>
                    </a:ext>
                  </a:extLst>
                </a:gridCol>
                <a:gridCol w="4600575">
                  <a:extLst>
                    <a:ext uri="{9D8B030D-6E8A-4147-A177-3AD203B41FA5}">
                      <a16:colId xmlns:a16="http://schemas.microsoft.com/office/drawing/2014/main" val="1663432767"/>
                    </a:ext>
                  </a:extLst>
                </a:gridCol>
                <a:gridCol w="720000">
                  <a:extLst>
                    <a:ext uri="{9D8B030D-6E8A-4147-A177-3AD203B41FA5}">
                      <a16:colId xmlns:a16="http://schemas.microsoft.com/office/drawing/2014/main" val="1960314119"/>
                    </a:ext>
                  </a:extLst>
                </a:gridCol>
                <a:gridCol w="720000">
                  <a:extLst>
                    <a:ext uri="{9D8B030D-6E8A-4147-A177-3AD203B41FA5}">
                      <a16:colId xmlns:a16="http://schemas.microsoft.com/office/drawing/2014/main" val="228821453"/>
                    </a:ext>
                  </a:extLst>
                </a:gridCol>
              </a:tblGrid>
              <a:tr h="1078367">
                <a:tc gridSpan="2">
                  <a:txBody>
                    <a:bodyPr/>
                    <a:lstStyle/>
                    <a:p>
                      <a:pPr algn="ctr" fontAlgn="ctr"/>
                      <a:r>
                        <a:rPr lang="en-GB" sz="800" b="1" i="0" u="none" strike="noStrike">
                          <a:solidFill>
                            <a:srgbClr val="000000"/>
                          </a:solidFill>
                          <a:effectLst/>
                          <a:latin typeface="Arial"/>
                        </a:rPr>
                        <a:t>Principl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GB"/>
                    </a:p>
                  </a:txBody>
                  <a:tcPr/>
                </a:tc>
                <a:tc>
                  <a:txBody>
                    <a:bodyPr/>
                    <a:lstStyle/>
                    <a:p>
                      <a:pPr algn="ctr" fontAlgn="ctr"/>
                      <a:r>
                        <a:rPr lang="en-GB" sz="800" b="1" i="0" u="none" strike="noStrike">
                          <a:solidFill>
                            <a:srgbClr val="000000"/>
                          </a:solidFill>
                          <a:effectLst/>
                          <a:latin typeface="Arial"/>
                        </a:rPr>
                        <a:t>Expected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ctr" fontAlgn="ctr"/>
                      <a:r>
                        <a:rPr lang="en-GB" sz="800" b="1" i="0" u="none" strike="noStrike">
                          <a:solidFill>
                            <a:srgbClr val="000000"/>
                          </a:solidFill>
                          <a:effectLst/>
                          <a:latin typeface="Arial"/>
                        </a:rPr>
                        <a:t>Assessment of Agent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extLst>
                  <a:ext uri="{0D108BD9-81ED-4DB2-BD59-A6C34878D82A}">
                    <a16:rowId xmlns:a16="http://schemas.microsoft.com/office/drawing/2014/main" val="4040789284"/>
                  </a:ext>
                </a:extLst>
              </a:tr>
              <a:tr h="771964">
                <a:tc gridSpan="2">
                  <a:txBody>
                    <a:bodyPr/>
                    <a:lstStyle/>
                    <a:p>
                      <a:pPr lvl="0" algn="l">
                        <a:lnSpc>
                          <a:spcPct val="100000"/>
                        </a:lnSpc>
                        <a:spcBef>
                          <a:spcPts val="0"/>
                        </a:spcBef>
                        <a:spcAft>
                          <a:spcPts val="0"/>
                        </a:spcAft>
                        <a:buNone/>
                      </a:pPr>
                      <a:r>
                        <a:rPr lang="en-GB" sz="800" b="1" i="0" u="none" strike="noStrike" noProof="0">
                          <a:effectLst/>
                        </a:rPr>
                        <a:t>3. Outwards Reinsurance</a:t>
                      </a:r>
                      <a:br>
                        <a:rPr lang="en-GB" sz="800" b="1" i="0" u="none" strike="noStrike" noProof="0">
                          <a:effectLst/>
                        </a:rPr>
                      </a:br>
                      <a:r>
                        <a:rPr lang="en-GB" sz="800" b="1" i="0" u="none" strike="noStrike" noProof="0">
                          <a:effectLst/>
                        </a:rPr>
                        <a:t> </a:t>
                      </a:r>
                      <a:r>
                        <a:rPr lang="en-GB" sz="800" b="0" i="0" u="none" strike="noStrike" noProof="0">
                          <a:effectLst/>
                        </a:rPr>
                        <a:t>Managing agents should define and execute syndicate outwards reinsurance strategy and purchasing plans which effectively support the wider syndicate business strategy and objectives.  </a:t>
                      </a:r>
                      <a:endParaRPr lang="en-US"/>
                    </a:p>
                    <a:p>
                      <a:pPr lvl="0" algn="l">
                        <a:buNone/>
                      </a:pPr>
                      <a:r>
                        <a:rPr lang="en-GB" sz="800" b="0" i="0" u="none" strike="noStrike" noProof="0">
                          <a:effectLst/>
                        </a:rPr>
                        <a:t>To support this, managing agents should ensure their syndicates':</a:t>
                      </a:r>
                      <a:endParaRPr lang="en-GB"/>
                    </a:p>
                  </a:txBody>
                  <a:tcPr marL="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a:txBody>
                    <a:bodyPr/>
                    <a:lstStyle/>
                    <a:p>
                      <a:pPr lvl="0" algn="ctr">
                        <a:lnSpc>
                          <a:spcPct val="100000"/>
                        </a:lnSpc>
                        <a:spcBef>
                          <a:spcPts val="0"/>
                        </a:spcBef>
                        <a:spcAft>
                          <a:spcPts val="0"/>
                        </a:spcAft>
                        <a:buNone/>
                      </a:pPr>
                      <a:r>
                        <a:rPr lang="en-GB" sz="800" b="1" i="0" u="none" strike="noStrike" noProof="0">
                          <a:solidFill>
                            <a:srgbClr val="FFFFFF"/>
                          </a:solidFill>
                          <a:effectLst/>
                          <a:latin typeface="Arial"/>
                        </a:rPr>
                        <a:t>Foundational</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lvl="0" algn="ctr">
                        <a:lnSpc>
                          <a:spcPct val="100000"/>
                        </a:lnSpc>
                        <a:spcBef>
                          <a:spcPts val="0"/>
                        </a:spcBef>
                        <a:spcAft>
                          <a:spcPts val="0"/>
                        </a:spcAft>
                        <a:buNone/>
                      </a:pPr>
                      <a:r>
                        <a:rPr lang="en-GB" sz="800" b="1" i="0" u="none" strike="noStrike" noProof="0">
                          <a:solidFill>
                            <a:srgbClr val="FFFFFF"/>
                          </a:solidFill>
                          <a:effectLst/>
                          <a:latin typeface="Arial"/>
                        </a:rPr>
                        <a:t>Foundational</a:t>
                      </a:r>
                      <a:endParaRPr lang="en-GB" sz="800" b="0" i="0" u="none" strike="noStrike" noProof="0">
                        <a:effectLs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241000660"/>
                  </a:ext>
                </a:extLst>
              </a:tr>
              <a:tr h="377405">
                <a:tc>
                  <a:txBody>
                    <a:bodyPr/>
                    <a:lstStyle/>
                    <a:p>
                      <a:pPr algn="ctr" fontAlgn="ctr"/>
                      <a:r>
                        <a:rPr lang="en-GB" sz="800" b="0" i="0" u="none" strike="noStrike">
                          <a:solidFill>
                            <a:srgbClr val="000000"/>
                          </a:solidFill>
                          <a:effectLst/>
                          <a:latin typeface="Arial"/>
                        </a:rPr>
                        <a:t>Sub Principle 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Outwards reinsurance strategies and purchasing plans are robust and reflect underwriting, exposure and capital management / appetites of each individual syndicate, and the best interests of the members of the syndicate.</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GB" sz="800" b="1" i="0" u="none" strike="noStrike" noProof="0">
                          <a:solidFill>
                            <a:srgbClr val="FFFFFF"/>
                          </a:solidFill>
                          <a:effectLst/>
                          <a:latin typeface="Arial"/>
                        </a:rPr>
                        <a:t>Foundational</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GB" sz="800" b="1" i="0" u="none" strike="noStrike">
                          <a:solidFill>
                            <a:srgbClr val="FFFFFF"/>
                          </a:solidFill>
                          <a:effectLst/>
                          <a:latin typeface="Arial"/>
                        </a:rPr>
                        <a:t>Intermediat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798665629"/>
                  </a:ext>
                </a:extLst>
              </a:tr>
              <a:tr h="377405">
                <a:tc>
                  <a:txBody>
                    <a:bodyPr/>
                    <a:lstStyle/>
                    <a:p>
                      <a:pPr algn="ctr" fontAlgn="ctr"/>
                      <a:r>
                        <a:rPr lang="en-GB" sz="800" b="0" i="0" u="none" strike="noStrike">
                          <a:solidFill>
                            <a:srgbClr val="000000"/>
                          </a:solidFill>
                          <a:effectLst/>
                          <a:latin typeface="Arial"/>
                        </a:rPr>
                        <a:t>Sub Principle 2</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Have appropriate systems, controls, procedures and expertise to enable the effective management of outwards reinsurance purchasing and recoveries.</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GB" sz="800" b="1" i="0" u="none" strike="noStrike" noProof="0">
                          <a:solidFill>
                            <a:srgbClr val="FFFFFF"/>
                          </a:solidFill>
                          <a:effectLst/>
                          <a:latin typeface="Arial"/>
                        </a:rPr>
                        <a:t>Foundational</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GB" sz="800" b="1" i="0" u="none" strike="noStrike">
                          <a:solidFill>
                            <a:srgbClr val="FFFFFF"/>
                          </a:solidFill>
                          <a:effectLst/>
                          <a:latin typeface="Arial"/>
                        </a:rPr>
                        <a:t>Foundation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5115953"/>
                  </a:ext>
                </a:extLst>
              </a:tr>
              <a:tr h="377405">
                <a:tc>
                  <a:txBody>
                    <a:bodyPr/>
                    <a:lstStyle/>
                    <a:p>
                      <a:pPr algn="ctr" fontAlgn="ctr"/>
                      <a:r>
                        <a:rPr lang="en-GB" sz="800" b="0" i="0" u="none" strike="noStrike">
                          <a:solidFill>
                            <a:srgbClr val="000000"/>
                          </a:solidFill>
                          <a:effectLst/>
                          <a:latin typeface="Arial"/>
                        </a:rPr>
                        <a:t>Sub Principle 3</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l">
                        <a:buNone/>
                      </a:pPr>
                      <a:r>
                        <a:rPr lang="en-GB" sz="800" b="0" i="0" u="none" strike="noStrike" noProof="0">
                          <a:effectLst/>
                        </a:rPr>
                        <a:t>Live and potential financial, operational, counterparty, contract and liquidity risks arising from outwards reinsurance arrangements are identified, monitored, evaluated and mitigated.</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GB" sz="800" b="1" i="0" u="none" strike="noStrike" noProof="0">
                          <a:solidFill>
                            <a:srgbClr val="FFFFFF"/>
                          </a:solidFill>
                          <a:effectLst/>
                          <a:latin typeface="Arial"/>
                        </a:rPr>
                        <a:t>Foundational</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GB" sz="800" b="1" i="0" u="none" strike="noStrike">
                          <a:solidFill>
                            <a:srgbClr val="FFFFFF"/>
                          </a:solidFill>
                          <a:effectLst/>
                          <a:latin typeface="Arial"/>
                        </a:rPr>
                        <a:t>Establish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214184741"/>
                  </a:ext>
                </a:extLst>
              </a:tr>
              <a:tr h="377405">
                <a:tc>
                  <a:txBody>
                    <a:bodyPr/>
                    <a:lstStyle/>
                    <a:p>
                      <a:pPr algn="ctr" fontAlgn="ctr"/>
                      <a:r>
                        <a:rPr lang="en-GB" sz="800" b="0" i="0" u="none" strike="noStrike">
                          <a:solidFill>
                            <a:srgbClr val="000000"/>
                          </a:solidFill>
                          <a:effectLst/>
                          <a:latin typeface="Arial"/>
                        </a:rPr>
                        <a:t>Sub Principle 4</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GB" sz="800" b="0" i="0" u="none" strike="noStrike" noProof="0">
                          <a:effectLst/>
                        </a:rPr>
                        <a:t>Have robust and effective monitoring, reporting and governance frameworks employed over their outwards reinsurance arrangements.</a:t>
                      </a:r>
                      <a:endParaRPr lang="en-GB" sz="8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lvl="0" algn="ctr">
                        <a:buNone/>
                      </a:pPr>
                      <a:r>
                        <a:rPr lang="en-GB" sz="800" b="1" i="0" u="none" strike="noStrike" noProof="0">
                          <a:solidFill>
                            <a:srgbClr val="FFFFFF"/>
                          </a:solidFill>
                          <a:effectLst/>
                          <a:latin typeface="Arial"/>
                        </a:rPr>
                        <a:t>Foundational</a:t>
                      </a:r>
                      <a:endParaRPr lang="en-US"/>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fontAlgn="ctr"/>
                      <a:r>
                        <a:rPr lang="en-GB" sz="800" b="1" i="0" u="none" strike="noStrike">
                          <a:solidFill>
                            <a:srgbClr val="FFFFFF"/>
                          </a:solidFill>
                          <a:effectLst/>
                          <a:latin typeface="Arial"/>
                        </a:rPr>
                        <a:t>Foundational</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6298074"/>
                  </a:ext>
                </a:extLst>
              </a:tr>
            </a:tbl>
          </a:graphicData>
        </a:graphic>
      </p:graphicFrame>
      <p:sp>
        <p:nvSpPr>
          <p:cNvPr id="9" name="Rectangle: Rounded Corners 8">
            <a:extLst>
              <a:ext uri="{FF2B5EF4-FFF2-40B4-BE49-F238E27FC236}">
                <a16:creationId xmlns:a16="http://schemas.microsoft.com/office/drawing/2014/main" id="{FC78BFE0-60F3-438E-9BF8-30900F080EF6}"/>
              </a:ext>
            </a:extLst>
          </p:cNvPr>
          <p:cNvSpPr/>
          <p:nvPr/>
        </p:nvSpPr>
        <p:spPr>
          <a:xfrm>
            <a:off x="8220547" y="1602944"/>
            <a:ext cx="3615041" cy="4269120"/>
          </a:xfrm>
          <a:prstGeom prst="roundRect">
            <a:avLst/>
          </a:prstGeom>
          <a:ln/>
        </p:spPr>
        <p:style>
          <a:lnRef idx="2">
            <a:schemeClr val="accent3"/>
          </a:lnRef>
          <a:fillRef idx="1">
            <a:schemeClr val="lt1"/>
          </a:fillRef>
          <a:effectRef idx="0">
            <a:schemeClr val="accent3"/>
          </a:effectRef>
          <a:fontRef idx="minor">
            <a:schemeClr val="dk1"/>
          </a:fontRef>
        </p:style>
        <p:txBody>
          <a:bodyPr lIns="91440" tIns="45720" rIns="91440" bIns="45720" rtlCol="0" anchor="ctr"/>
          <a:lstStyle/>
          <a:p>
            <a:pPr algn="ctr"/>
            <a:r>
              <a:rPr lang="en-GB" sz="1600" b="1" dirty="0">
                <a:ea typeface="+mn-lt"/>
                <a:cs typeface="+mn-lt"/>
              </a:rPr>
              <a:t>Overall Rationale</a:t>
            </a:r>
          </a:p>
          <a:p>
            <a:pPr algn="ctr"/>
            <a:endParaRPr lang="en-GB" sz="1600">
              <a:ea typeface="+mn-lt"/>
              <a:cs typeface="+mn-lt"/>
            </a:endParaRPr>
          </a:p>
          <a:p>
            <a:pPr algn="ctr"/>
            <a:r>
              <a:rPr lang="en-GB" sz="1600" dirty="0">
                <a:ea typeface="+mn-lt"/>
                <a:cs typeface="+mn-lt"/>
              </a:rPr>
              <a:t>Syndicate Y has strong counterparty monitoring including group concentrations. However, it has failed to regularly monitor shared cessions to ensure that cover remains available when needed.</a:t>
            </a:r>
          </a:p>
          <a:p>
            <a:pPr algn="ctr"/>
            <a:endParaRPr lang="en-GB" sz="1600" dirty="0">
              <a:ea typeface="+mn-lt"/>
              <a:cs typeface="+mn-lt"/>
            </a:endParaRPr>
          </a:p>
          <a:p>
            <a:pPr algn="ctr"/>
            <a:r>
              <a:rPr lang="en-GB" sz="1600" dirty="0">
                <a:ea typeface="+mn-lt"/>
                <a:cs typeface="+mn-lt"/>
              </a:rPr>
              <a:t>Overall, a Foundational level is appropriate at this time and the syndicate meets expectations.</a:t>
            </a:r>
            <a:endParaRPr lang="en-GB" dirty="0">
              <a:cs typeface="Arial"/>
            </a:endParaRPr>
          </a:p>
        </p:txBody>
      </p:sp>
      <p:sp>
        <p:nvSpPr>
          <p:cNvPr id="7" name="Text Placeholder 6">
            <a:extLst>
              <a:ext uri="{FF2B5EF4-FFF2-40B4-BE49-F238E27FC236}">
                <a16:creationId xmlns:a16="http://schemas.microsoft.com/office/drawing/2014/main" id="{C92C332F-47BB-40D5-964B-FE9F55B28CDD}"/>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31753648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5848350" cy="1454041"/>
          </a:xfrm>
        </p:spPr>
        <p:txBody>
          <a:bodyPr/>
          <a:lstStyle/>
          <a:p>
            <a:r>
              <a:rPr lang="en-GB"/>
              <a:t>Self-assessment submissions</a:t>
            </a:r>
          </a:p>
          <a:p>
            <a:endParaRPr lang="en-GB"/>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a:lstStyle/>
          <a:p>
            <a:r>
              <a:rPr lang="en-GB"/>
              <a:t>Lyndsay Deeves</a:t>
            </a:r>
          </a:p>
        </p:txBody>
      </p:sp>
    </p:spTree>
    <p:extLst>
      <p:ext uri="{BB962C8B-B14F-4D97-AF65-F5344CB8AC3E}">
        <p14:creationId xmlns:p14="http://schemas.microsoft.com/office/powerpoint/2010/main" val="25491183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a:t>Principles self-assessments</a:t>
            </a:r>
          </a:p>
        </p:txBody>
      </p:sp>
      <p:sp>
        <p:nvSpPr>
          <p:cNvPr id="8" name="Text Placeholder 7">
            <a:extLst>
              <a:ext uri="{FF2B5EF4-FFF2-40B4-BE49-F238E27FC236}">
                <a16:creationId xmlns:a16="http://schemas.microsoft.com/office/drawing/2014/main" id="{48719F51-9177-4C7F-AF36-042627B61315}"/>
              </a:ext>
            </a:extLst>
          </p:cNvPr>
          <p:cNvSpPr>
            <a:spLocks noGrp="1"/>
          </p:cNvSpPr>
          <p:nvPr>
            <p:ph type="body" sz="quarter" idx="17"/>
          </p:nvPr>
        </p:nvSpPr>
        <p:spPr>
          <a:xfrm>
            <a:off x="533400" y="1100138"/>
            <a:ext cx="11160125" cy="276999"/>
          </a:xfrm>
        </p:spPr>
        <p:txBody>
          <a:bodyPr/>
          <a:lstStyle/>
          <a:p>
            <a:r>
              <a:rPr lang="en-GB" sz="1800">
                <a:solidFill>
                  <a:schemeClr val="accent3"/>
                </a:solidFill>
              </a:rPr>
              <a:t>Moving from prescription to outcomes focussed </a:t>
            </a:r>
          </a:p>
        </p:txBody>
      </p:sp>
      <p:pic>
        <p:nvPicPr>
          <p:cNvPr id="9" name="Picture 8">
            <a:extLst>
              <a:ext uri="{FF2B5EF4-FFF2-40B4-BE49-F238E27FC236}">
                <a16:creationId xmlns:a16="http://schemas.microsoft.com/office/drawing/2014/main" id="{A5198EC0-4B76-4913-A394-41550C97B3D2}"/>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668343" y="1942538"/>
            <a:ext cx="6855314" cy="3911507"/>
          </a:xfrm>
          <a:prstGeom prst="rect">
            <a:avLst/>
          </a:prstGeom>
          <a:noFill/>
        </p:spPr>
      </p:pic>
    </p:spTree>
    <p:extLst>
      <p:ext uri="{BB962C8B-B14F-4D97-AF65-F5344CB8AC3E}">
        <p14:creationId xmlns:p14="http://schemas.microsoft.com/office/powerpoint/2010/main" val="29405390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810204"/>
          </a:xfrm>
        </p:spPr>
        <p:txBody>
          <a:bodyPr/>
          <a:lstStyle/>
          <a:p>
            <a:r>
              <a:rPr lang="en-GB" sz="2400"/>
              <a:t>What are the key differences between the “Attestation” and “self-assessment”?</a:t>
            </a:r>
          </a:p>
        </p:txBody>
      </p:sp>
      <p:grpSp>
        <p:nvGrpSpPr>
          <p:cNvPr id="10" name="Group 11">
            <a:extLst>
              <a:ext uri="{FF2B5EF4-FFF2-40B4-BE49-F238E27FC236}">
                <a16:creationId xmlns:a16="http://schemas.microsoft.com/office/drawing/2014/main" id="{5749D01F-DE80-40DD-ADA0-7A8EEC3D3C1B}"/>
              </a:ext>
            </a:extLst>
          </p:cNvPr>
          <p:cNvGrpSpPr>
            <a:grpSpLocks noChangeAspect="1"/>
          </p:cNvGrpSpPr>
          <p:nvPr/>
        </p:nvGrpSpPr>
        <p:grpSpPr bwMode="auto">
          <a:xfrm>
            <a:off x="557976" y="1476203"/>
            <a:ext cx="3445458" cy="3576690"/>
            <a:chOff x="1719" y="1252"/>
            <a:chExt cx="1444" cy="1499"/>
          </a:xfrm>
          <a:solidFill>
            <a:schemeClr val="accent2"/>
          </a:solidFill>
        </p:grpSpPr>
        <p:sp>
          <p:nvSpPr>
            <p:cNvPr id="11" name="Freeform 12">
              <a:extLst>
                <a:ext uri="{FF2B5EF4-FFF2-40B4-BE49-F238E27FC236}">
                  <a16:creationId xmlns:a16="http://schemas.microsoft.com/office/drawing/2014/main" id="{41E4299E-B43D-4DF9-AFA9-2918661B6138}"/>
                </a:ext>
              </a:extLst>
            </p:cNvPr>
            <p:cNvSpPr>
              <a:spLocks/>
            </p:cNvSpPr>
            <p:nvPr/>
          </p:nvSpPr>
          <p:spPr bwMode="auto">
            <a:xfrm>
              <a:off x="1719" y="1252"/>
              <a:ext cx="869" cy="749"/>
            </a:xfrm>
            <a:custGeom>
              <a:avLst/>
              <a:gdLst>
                <a:gd name="T0" fmla="*/ 340 w 920"/>
                <a:gd name="T1" fmla="*/ 368 h 792"/>
                <a:gd name="T2" fmla="*/ 920 w 920"/>
                <a:gd name="T3" fmla="*/ 368 h 792"/>
                <a:gd name="T4" fmla="*/ 920 w 920"/>
                <a:gd name="T5" fmla="*/ 60 h 792"/>
                <a:gd name="T6" fmla="*/ 860 w 920"/>
                <a:gd name="T7" fmla="*/ 0 h 792"/>
                <a:gd name="T8" fmla="*/ 60 w 920"/>
                <a:gd name="T9" fmla="*/ 0 h 792"/>
                <a:gd name="T10" fmla="*/ 0 w 920"/>
                <a:gd name="T11" fmla="*/ 60 h 792"/>
                <a:gd name="T12" fmla="*/ 0 w 920"/>
                <a:gd name="T13" fmla="*/ 792 h 792"/>
                <a:gd name="T14" fmla="*/ 172 w 920"/>
                <a:gd name="T15" fmla="*/ 620 h 792"/>
                <a:gd name="T16" fmla="*/ 240 w 920"/>
                <a:gd name="T17" fmla="*/ 620 h 792"/>
                <a:gd name="T18" fmla="*/ 240 w 920"/>
                <a:gd name="T19" fmla="*/ 468 h 792"/>
                <a:gd name="T20" fmla="*/ 340 w 920"/>
                <a:gd name="T21" fmla="*/ 3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0" h="792">
                  <a:moveTo>
                    <a:pt x="340" y="368"/>
                  </a:moveTo>
                  <a:cubicBezTo>
                    <a:pt x="920" y="368"/>
                    <a:pt x="920" y="368"/>
                    <a:pt x="920" y="368"/>
                  </a:cubicBezTo>
                  <a:cubicBezTo>
                    <a:pt x="920" y="60"/>
                    <a:pt x="920" y="60"/>
                    <a:pt x="920" y="60"/>
                  </a:cubicBezTo>
                  <a:cubicBezTo>
                    <a:pt x="920" y="25"/>
                    <a:pt x="895" y="0"/>
                    <a:pt x="860" y="0"/>
                  </a:cubicBezTo>
                  <a:cubicBezTo>
                    <a:pt x="60" y="0"/>
                    <a:pt x="60" y="0"/>
                    <a:pt x="60" y="0"/>
                  </a:cubicBezTo>
                  <a:cubicBezTo>
                    <a:pt x="25" y="0"/>
                    <a:pt x="0" y="25"/>
                    <a:pt x="0" y="60"/>
                  </a:cubicBezTo>
                  <a:cubicBezTo>
                    <a:pt x="0" y="792"/>
                    <a:pt x="0" y="792"/>
                    <a:pt x="0" y="792"/>
                  </a:cubicBezTo>
                  <a:cubicBezTo>
                    <a:pt x="172" y="620"/>
                    <a:pt x="172" y="620"/>
                    <a:pt x="172" y="620"/>
                  </a:cubicBezTo>
                  <a:cubicBezTo>
                    <a:pt x="240" y="620"/>
                    <a:pt x="240" y="620"/>
                    <a:pt x="240" y="620"/>
                  </a:cubicBezTo>
                  <a:cubicBezTo>
                    <a:pt x="240" y="468"/>
                    <a:pt x="240" y="468"/>
                    <a:pt x="240" y="468"/>
                  </a:cubicBezTo>
                  <a:cubicBezTo>
                    <a:pt x="240" y="411"/>
                    <a:pt x="283" y="368"/>
                    <a:pt x="340" y="36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b="1"/>
                <a:t>Self-assessment, not Attestation</a:t>
              </a:r>
            </a:p>
          </p:txBody>
        </p:sp>
        <p:sp>
          <p:nvSpPr>
            <p:cNvPr id="12" name="Freeform 13">
              <a:extLst>
                <a:ext uri="{FF2B5EF4-FFF2-40B4-BE49-F238E27FC236}">
                  <a16:creationId xmlns:a16="http://schemas.microsoft.com/office/drawing/2014/main" id="{3407EAE8-A4E9-4467-9821-8311A9571AF1}"/>
                </a:ext>
              </a:extLst>
            </p:cNvPr>
            <p:cNvSpPr>
              <a:spLocks/>
            </p:cNvSpPr>
            <p:nvPr/>
          </p:nvSpPr>
          <p:spPr bwMode="auto">
            <a:xfrm>
              <a:off x="1984" y="1638"/>
              <a:ext cx="1179" cy="1113"/>
            </a:xfrm>
            <a:custGeom>
              <a:avLst/>
              <a:gdLst>
                <a:gd name="T0" fmla="*/ 860 w 920"/>
                <a:gd name="T1" fmla="*/ 0 h 792"/>
                <a:gd name="T2" fmla="*/ 60 w 920"/>
                <a:gd name="T3" fmla="*/ 0 h 792"/>
                <a:gd name="T4" fmla="*/ 0 w 920"/>
                <a:gd name="T5" fmla="*/ 60 h 792"/>
                <a:gd name="T6" fmla="*/ 0 w 920"/>
                <a:gd name="T7" fmla="*/ 560 h 792"/>
                <a:gd name="T8" fmla="*/ 60 w 920"/>
                <a:gd name="T9" fmla="*/ 620 h 792"/>
                <a:gd name="T10" fmla="*/ 748 w 920"/>
                <a:gd name="T11" fmla="*/ 620 h 792"/>
                <a:gd name="T12" fmla="*/ 920 w 920"/>
                <a:gd name="T13" fmla="*/ 792 h 792"/>
                <a:gd name="T14" fmla="*/ 920 w 920"/>
                <a:gd name="T15" fmla="*/ 60 h 792"/>
                <a:gd name="T16" fmla="*/ 860 w 920"/>
                <a:gd name="T17" fmla="*/ 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792">
                  <a:moveTo>
                    <a:pt x="860" y="0"/>
                  </a:moveTo>
                  <a:cubicBezTo>
                    <a:pt x="60" y="0"/>
                    <a:pt x="60" y="0"/>
                    <a:pt x="60" y="0"/>
                  </a:cubicBezTo>
                  <a:cubicBezTo>
                    <a:pt x="25" y="0"/>
                    <a:pt x="0" y="25"/>
                    <a:pt x="0" y="60"/>
                  </a:cubicBezTo>
                  <a:cubicBezTo>
                    <a:pt x="0" y="560"/>
                    <a:pt x="0" y="560"/>
                    <a:pt x="0" y="560"/>
                  </a:cubicBezTo>
                  <a:cubicBezTo>
                    <a:pt x="0" y="596"/>
                    <a:pt x="25" y="620"/>
                    <a:pt x="60" y="620"/>
                  </a:cubicBezTo>
                  <a:cubicBezTo>
                    <a:pt x="748" y="620"/>
                    <a:pt x="748" y="620"/>
                    <a:pt x="748" y="620"/>
                  </a:cubicBezTo>
                  <a:cubicBezTo>
                    <a:pt x="920" y="792"/>
                    <a:pt x="920" y="792"/>
                    <a:pt x="920" y="792"/>
                  </a:cubicBezTo>
                  <a:cubicBezTo>
                    <a:pt x="920" y="60"/>
                    <a:pt x="920" y="60"/>
                    <a:pt x="920" y="60"/>
                  </a:cubicBezTo>
                  <a:cubicBezTo>
                    <a:pt x="920" y="25"/>
                    <a:pt x="895" y="0"/>
                    <a:pt x="8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sz="1600">
                  <a:solidFill>
                    <a:schemeClr val="bg1"/>
                  </a:solidFill>
                </a:rPr>
                <a:t>Submitting on a “best efforts” basis.</a:t>
              </a:r>
            </a:p>
            <a:p>
              <a:endParaRPr lang="en-GB" sz="1600">
                <a:solidFill>
                  <a:schemeClr val="bg1"/>
                </a:solidFill>
              </a:endParaRPr>
            </a:p>
            <a:p>
              <a:r>
                <a:rPr lang="en-GB" sz="1600">
                  <a:solidFill>
                    <a:schemeClr val="bg1"/>
                  </a:solidFill>
                </a:rPr>
                <a:t>Formal Board sign off not required.</a:t>
              </a:r>
            </a:p>
            <a:p>
              <a:endParaRPr lang="en-GB" sz="1600">
                <a:solidFill>
                  <a:schemeClr val="bg1"/>
                </a:solidFill>
              </a:endParaRPr>
            </a:p>
            <a:p>
              <a:r>
                <a:rPr lang="en-GB" sz="1600">
                  <a:solidFill>
                    <a:schemeClr val="bg1"/>
                  </a:solidFill>
                </a:rPr>
                <a:t>However, we would expect discussion at the Board</a:t>
              </a:r>
            </a:p>
            <a:p>
              <a:endParaRPr lang="en-GB">
                <a:solidFill>
                  <a:schemeClr val="bg1"/>
                </a:solidFill>
              </a:endParaRPr>
            </a:p>
          </p:txBody>
        </p:sp>
      </p:grpSp>
      <p:grpSp>
        <p:nvGrpSpPr>
          <p:cNvPr id="13" name="Group 11">
            <a:extLst>
              <a:ext uri="{FF2B5EF4-FFF2-40B4-BE49-F238E27FC236}">
                <a16:creationId xmlns:a16="http://schemas.microsoft.com/office/drawing/2014/main" id="{38E03664-0BF2-4182-928C-4C88CBB5AEB0}"/>
              </a:ext>
            </a:extLst>
          </p:cNvPr>
          <p:cNvGrpSpPr>
            <a:grpSpLocks noChangeAspect="1"/>
          </p:cNvGrpSpPr>
          <p:nvPr/>
        </p:nvGrpSpPr>
        <p:grpSpPr bwMode="auto">
          <a:xfrm>
            <a:off x="4397270" y="2290854"/>
            <a:ext cx="3445458" cy="3576690"/>
            <a:chOff x="1719" y="1252"/>
            <a:chExt cx="1444" cy="1499"/>
          </a:xfrm>
          <a:solidFill>
            <a:schemeClr val="accent2"/>
          </a:solidFill>
        </p:grpSpPr>
        <p:sp>
          <p:nvSpPr>
            <p:cNvPr id="14" name="Freeform 12">
              <a:extLst>
                <a:ext uri="{FF2B5EF4-FFF2-40B4-BE49-F238E27FC236}">
                  <a16:creationId xmlns:a16="http://schemas.microsoft.com/office/drawing/2014/main" id="{4E8E8A7B-8FDB-43BD-9673-64F419D0DD9E}"/>
                </a:ext>
              </a:extLst>
            </p:cNvPr>
            <p:cNvSpPr>
              <a:spLocks/>
            </p:cNvSpPr>
            <p:nvPr/>
          </p:nvSpPr>
          <p:spPr bwMode="auto">
            <a:xfrm>
              <a:off x="1719" y="1252"/>
              <a:ext cx="869" cy="749"/>
            </a:xfrm>
            <a:custGeom>
              <a:avLst/>
              <a:gdLst>
                <a:gd name="T0" fmla="*/ 340 w 920"/>
                <a:gd name="T1" fmla="*/ 368 h 792"/>
                <a:gd name="T2" fmla="*/ 920 w 920"/>
                <a:gd name="T3" fmla="*/ 368 h 792"/>
                <a:gd name="T4" fmla="*/ 920 w 920"/>
                <a:gd name="T5" fmla="*/ 60 h 792"/>
                <a:gd name="T6" fmla="*/ 860 w 920"/>
                <a:gd name="T7" fmla="*/ 0 h 792"/>
                <a:gd name="T8" fmla="*/ 60 w 920"/>
                <a:gd name="T9" fmla="*/ 0 h 792"/>
                <a:gd name="T10" fmla="*/ 0 w 920"/>
                <a:gd name="T11" fmla="*/ 60 h 792"/>
                <a:gd name="T12" fmla="*/ 0 w 920"/>
                <a:gd name="T13" fmla="*/ 792 h 792"/>
                <a:gd name="T14" fmla="*/ 172 w 920"/>
                <a:gd name="T15" fmla="*/ 620 h 792"/>
                <a:gd name="T16" fmla="*/ 240 w 920"/>
                <a:gd name="T17" fmla="*/ 620 h 792"/>
                <a:gd name="T18" fmla="*/ 240 w 920"/>
                <a:gd name="T19" fmla="*/ 468 h 792"/>
                <a:gd name="T20" fmla="*/ 340 w 920"/>
                <a:gd name="T21" fmla="*/ 3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0" h="792">
                  <a:moveTo>
                    <a:pt x="340" y="368"/>
                  </a:moveTo>
                  <a:cubicBezTo>
                    <a:pt x="920" y="368"/>
                    <a:pt x="920" y="368"/>
                    <a:pt x="920" y="368"/>
                  </a:cubicBezTo>
                  <a:cubicBezTo>
                    <a:pt x="920" y="60"/>
                    <a:pt x="920" y="60"/>
                    <a:pt x="920" y="60"/>
                  </a:cubicBezTo>
                  <a:cubicBezTo>
                    <a:pt x="920" y="25"/>
                    <a:pt x="895" y="0"/>
                    <a:pt x="860" y="0"/>
                  </a:cubicBezTo>
                  <a:cubicBezTo>
                    <a:pt x="60" y="0"/>
                    <a:pt x="60" y="0"/>
                    <a:pt x="60" y="0"/>
                  </a:cubicBezTo>
                  <a:cubicBezTo>
                    <a:pt x="25" y="0"/>
                    <a:pt x="0" y="25"/>
                    <a:pt x="0" y="60"/>
                  </a:cubicBezTo>
                  <a:cubicBezTo>
                    <a:pt x="0" y="792"/>
                    <a:pt x="0" y="792"/>
                    <a:pt x="0" y="792"/>
                  </a:cubicBezTo>
                  <a:cubicBezTo>
                    <a:pt x="172" y="620"/>
                    <a:pt x="172" y="620"/>
                    <a:pt x="172" y="620"/>
                  </a:cubicBezTo>
                  <a:cubicBezTo>
                    <a:pt x="240" y="620"/>
                    <a:pt x="240" y="620"/>
                    <a:pt x="240" y="620"/>
                  </a:cubicBezTo>
                  <a:cubicBezTo>
                    <a:pt x="240" y="468"/>
                    <a:pt x="240" y="468"/>
                    <a:pt x="240" y="468"/>
                  </a:cubicBezTo>
                  <a:cubicBezTo>
                    <a:pt x="240" y="411"/>
                    <a:pt x="283" y="368"/>
                    <a:pt x="340" y="36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b="1"/>
                <a:t>Working level</a:t>
              </a:r>
            </a:p>
          </p:txBody>
        </p:sp>
        <p:sp>
          <p:nvSpPr>
            <p:cNvPr id="15" name="Freeform 13">
              <a:extLst>
                <a:ext uri="{FF2B5EF4-FFF2-40B4-BE49-F238E27FC236}">
                  <a16:creationId xmlns:a16="http://schemas.microsoft.com/office/drawing/2014/main" id="{6F0B30AB-99AA-4BE1-BD17-7D76E5D23D6C}"/>
                </a:ext>
              </a:extLst>
            </p:cNvPr>
            <p:cNvSpPr>
              <a:spLocks/>
            </p:cNvSpPr>
            <p:nvPr/>
          </p:nvSpPr>
          <p:spPr bwMode="auto">
            <a:xfrm>
              <a:off x="1984" y="1638"/>
              <a:ext cx="1179" cy="1113"/>
            </a:xfrm>
            <a:custGeom>
              <a:avLst/>
              <a:gdLst>
                <a:gd name="T0" fmla="*/ 860 w 920"/>
                <a:gd name="T1" fmla="*/ 0 h 792"/>
                <a:gd name="T2" fmla="*/ 60 w 920"/>
                <a:gd name="T3" fmla="*/ 0 h 792"/>
                <a:gd name="T4" fmla="*/ 0 w 920"/>
                <a:gd name="T5" fmla="*/ 60 h 792"/>
                <a:gd name="T6" fmla="*/ 0 w 920"/>
                <a:gd name="T7" fmla="*/ 560 h 792"/>
                <a:gd name="T8" fmla="*/ 60 w 920"/>
                <a:gd name="T9" fmla="*/ 620 h 792"/>
                <a:gd name="T10" fmla="*/ 748 w 920"/>
                <a:gd name="T11" fmla="*/ 620 h 792"/>
                <a:gd name="T12" fmla="*/ 920 w 920"/>
                <a:gd name="T13" fmla="*/ 792 h 792"/>
                <a:gd name="T14" fmla="*/ 920 w 920"/>
                <a:gd name="T15" fmla="*/ 60 h 792"/>
                <a:gd name="T16" fmla="*/ 860 w 920"/>
                <a:gd name="T17" fmla="*/ 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792">
                  <a:moveTo>
                    <a:pt x="860" y="0"/>
                  </a:moveTo>
                  <a:cubicBezTo>
                    <a:pt x="60" y="0"/>
                    <a:pt x="60" y="0"/>
                    <a:pt x="60" y="0"/>
                  </a:cubicBezTo>
                  <a:cubicBezTo>
                    <a:pt x="25" y="0"/>
                    <a:pt x="0" y="25"/>
                    <a:pt x="0" y="60"/>
                  </a:cubicBezTo>
                  <a:cubicBezTo>
                    <a:pt x="0" y="560"/>
                    <a:pt x="0" y="560"/>
                    <a:pt x="0" y="560"/>
                  </a:cubicBezTo>
                  <a:cubicBezTo>
                    <a:pt x="0" y="596"/>
                    <a:pt x="25" y="620"/>
                    <a:pt x="60" y="620"/>
                  </a:cubicBezTo>
                  <a:cubicBezTo>
                    <a:pt x="748" y="620"/>
                    <a:pt x="748" y="620"/>
                    <a:pt x="748" y="620"/>
                  </a:cubicBezTo>
                  <a:cubicBezTo>
                    <a:pt x="920" y="792"/>
                    <a:pt x="920" y="792"/>
                    <a:pt x="920" y="792"/>
                  </a:cubicBezTo>
                  <a:cubicBezTo>
                    <a:pt x="920" y="60"/>
                    <a:pt x="920" y="60"/>
                    <a:pt x="920" y="60"/>
                  </a:cubicBezTo>
                  <a:cubicBezTo>
                    <a:pt x="920" y="25"/>
                    <a:pt x="895" y="0"/>
                    <a:pt x="8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sz="1200">
                  <a:solidFill>
                    <a:schemeClr val="bg1"/>
                  </a:solidFill>
                </a:rPr>
                <a:t>We understand Principles will not be fully embedded. </a:t>
              </a:r>
            </a:p>
            <a:p>
              <a:endParaRPr lang="en-GB" sz="1200">
                <a:solidFill>
                  <a:schemeClr val="bg1"/>
                </a:solidFill>
              </a:endParaRPr>
            </a:p>
            <a:p>
              <a:r>
                <a:rPr lang="en-GB" sz="1200">
                  <a:solidFill>
                    <a:schemeClr val="bg1"/>
                  </a:solidFill>
                </a:rPr>
                <a:t>Self-assessments will be an initial tool for your teams. </a:t>
              </a:r>
            </a:p>
            <a:p>
              <a:endParaRPr lang="en-GB" sz="1200">
                <a:solidFill>
                  <a:schemeClr val="bg1"/>
                </a:solidFill>
              </a:endParaRPr>
            </a:p>
            <a:p>
              <a:r>
                <a:rPr lang="en-GB" sz="1200">
                  <a:solidFill>
                    <a:schemeClr val="bg1"/>
                  </a:solidFill>
                </a:rPr>
                <a:t>Boards should step back to consider if your teams have embraced the move away from “</a:t>
              </a:r>
              <a:r>
                <a:rPr lang="en-GB" sz="1200" err="1">
                  <a:solidFill>
                    <a:schemeClr val="bg1"/>
                  </a:solidFill>
                </a:rPr>
                <a:t>tickboxes</a:t>
              </a:r>
              <a:r>
                <a:rPr lang="en-GB" sz="1200">
                  <a:solidFill>
                    <a:schemeClr val="bg1"/>
                  </a:solidFill>
                </a:rPr>
                <a:t>” to an outcomes based approach</a:t>
              </a:r>
            </a:p>
            <a:p>
              <a:endParaRPr lang="en-GB" sz="1200">
                <a:solidFill>
                  <a:schemeClr val="bg1"/>
                </a:solidFill>
              </a:endParaRPr>
            </a:p>
            <a:p>
              <a:endParaRPr lang="en-GB" sz="1200">
                <a:solidFill>
                  <a:schemeClr val="bg1"/>
                </a:solidFill>
              </a:endParaRPr>
            </a:p>
          </p:txBody>
        </p:sp>
      </p:grpSp>
      <p:grpSp>
        <p:nvGrpSpPr>
          <p:cNvPr id="19" name="Group 11">
            <a:extLst>
              <a:ext uri="{FF2B5EF4-FFF2-40B4-BE49-F238E27FC236}">
                <a16:creationId xmlns:a16="http://schemas.microsoft.com/office/drawing/2014/main" id="{E9EEF1DB-3F94-42E4-9430-3D73D0F8197A}"/>
              </a:ext>
            </a:extLst>
          </p:cNvPr>
          <p:cNvGrpSpPr>
            <a:grpSpLocks noChangeAspect="1"/>
          </p:cNvGrpSpPr>
          <p:nvPr/>
        </p:nvGrpSpPr>
        <p:grpSpPr bwMode="auto">
          <a:xfrm>
            <a:off x="8308548" y="1459315"/>
            <a:ext cx="3445458" cy="2970633"/>
            <a:chOff x="1719" y="1252"/>
            <a:chExt cx="1444" cy="1245"/>
          </a:xfrm>
          <a:solidFill>
            <a:schemeClr val="accent2"/>
          </a:solidFill>
        </p:grpSpPr>
        <p:sp>
          <p:nvSpPr>
            <p:cNvPr id="20" name="Freeform 12">
              <a:extLst>
                <a:ext uri="{FF2B5EF4-FFF2-40B4-BE49-F238E27FC236}">
                  <a16:creationId xmlns:a16="http://schemas.microsoft.com/office/drawing/2014/main" id="{5B12B793-A915-4C7D-8320-9338F39016C0}"/>
                </a:ext>
              </a:extLst>
            </p:cNvPr>
            <p:cNvSpPr>
              <a:spLocks/>
            </p:cNvSpPr>
            <p:nvPr/>
          </p:nvSpPr>
          <p:spPr bwMode="auto">
            <a:xfrm>
              <a:off x="1719" y="1252"/>
              <a:ext cx="869" cy="749"/>
            </a:xfrm>
            <a:custGeom>
              <a:avLst/>
              <a:gdLst>
                <a:gd name="T0" fmla="*/ 340 w 920"/>
                <a:gd name="T1" fmla="*/ 368 h 792"/>
                <a:gd name="T2" fmla="*/ 920 w 920"/>
                <a:gd name="T3" fmla="*/ 368 h 792"/>
                <a:gd name="T4" fmla="*/ 920 w 920"/>
                <a:gd name="T5" fmla="*/ 60 h 792"/>
                <a:gd name="T6" fmla="*/ 860 w 920"/>
                <a:gd name="T7" fmla="*/ 0 h 792"/>
                <a:gd name="T8" fmla="*/ 60 w 920"/>
                <a:gd name="T9" fmla="*/ 0 h 792"/>
                <a:gd name="T10" fmla="*/ 0 w 920"/>
                <a:gd name="T11" fmla="*/ 60 h 792"/>
                <a:gd name="T12" fmla="*/ 0 w 920"/>
                <a:gd name="T13" fmla="*/ 792 h 792"/>
                <a:gd name="T14" fmla="*/ 172 w 920"/>
                <a:gd name="T15" fmla="*/ 620 h 792"/>
                <a:gd name="T16" fmla="*/ 240 w 920"/>
                <a:gd name="T17" fmla="*/ 620 h 792"/>
                <a:gd name="T18" fmla="*/ 240 w 920"/>
                <a:gd name="T19" fmla="*/ 468 h 792"/>
                <a:gd name="T20" fmla="*/ 340 w 920"/>
                <a:gd name="T21" fmla="*/ 368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0" h="792">
                  <a:moveTo>
                    <a:pt x="340" y="368"/>
                  </a:moveTo>
                  <a:cubicBezTo>
                    <a:pt x="920" y="368"/>
                    <a:pt x="920" y="368"/>
                    <a:pt x="920" y="368"/>
                  </a:cubicBezTo>
                  <a:cubicBezTo>
                    <a:pt x="920" y="60"/>
                    <a:pt x="920" y="60"/>
                    <a:pt x="920" y="60"/>
                  </a:cubicBezTo>
                  <a:cubicBezTo>
                    <a:pt x="920" y="25"/>
                    <a:pt x="895" y="0"/>
                    <a:pt x="860" y="0"/>
                  </a:cubicBezTo>
                  <a:cubicBezTo>
                    <a:pt x="60" y="0"/>
                    <a:pt x="60" y="0"/>
                    <a:pt x="60" y="0"/>
                  </a:cubicBezTo>
                  <a:cubicBezTo>
                    <a:pt x="25" y="0"/>
                    <a:pt x="0" y="25"/>
                    <a:pt x="0" y="60"/>
                  </a:cubicBezTo>
                  <a:cubicBezTo>
                    <a:pt x="0" y="792"/>
                    <a:pt x="0" y="792"/>
                    <a:pt x="0" y="792"/>
                  </a:cubicBezTo>
                  <a:cubicBezTo>
                    <a:pt x="172" y="620"/>
                    <a:pt x="172" y="620"/>
                    <a:pt x="172" y="620"/>
                  </a:cubicBezTo>
                  <a:cubicBezTo>
                    <a:pt x="240" y="620"/>
                    <a:pt x="240" y="620"/>
                    <a:pt x="240" y="620"/>
                  </a:cubicBezTo>
                  <a:cubicBezTo>
                    <a:pt x="240" y="468"/>
                    <a:pt x="240" y="468"/>
                    <a:pt x="240" y="468"/>
                  </a:cubicBezTo>
                  <a:cubicBezTo>
                    <a:pt x="240" y="411"/>
                    <a:pt x="283" y="368"/>
                    <a:pt x="340" y="368"/>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b="1"/>
                <a:t>Best efforts basis</a:t>
              </a:r>
            </a:p>
          </p:txBody>
        </p:sp>
        <p:sp>
          <p:nvSpPr>
            <p:cNvPr id="21" name="Freeform 13">
              <a:extLst>
                <a:ext uri="{FF2B5EF4-FFF2-40B4-BE49-F238E27FC236}">
                  <a16:creationId xmlns:a16="http://schemas.microsoft.com/office/drawing/2014/main" id="{DD5A9F47-3DA1-4573-9DFF-D337AD257302}"/>
                </a:ext>
              </a:extLst>
            </p:cNvPr>
            <p:cNvSpPr>
              <a:spLocks/>
            </p:cNvSpPr>
            <p:nvPr/>
          </p:nvSpPr>
          <p:spPr bwMode="auto">
            <a:xfrm>
              <a:off x="1984" y="1638"/>
              <a:ext cx="1179" cy="859"/>
            </a:xfrm>
            <a:custGeom>
              <a:avLst/>
              <a:gdLst>
                <a:gd name="T0" fmla="*/ 860 w 920"/>
                <a:gd name="T1" fmla="*/ 0 h 792"/>
                <a:gd name="T2" fmla="*/ 60 w 920"/>
                <a:gd name="T3" fmla="*/ 0 h 792"/>
                <a:gd name="T4" fmla="*/ 0 w 920"/>
                <a:gd name="T5" fmla="*/ 60 h 792"/>
                <a:gd name="T6" fmla="*/ 0 w 920"/>
                <a:gd name="T7" fmla="*/ 560 h 792"/>
                <a:gd name="T8" fmla="*/ 60 w 920"/>
                <a:gd name="T9" fmla="*/ 620 h 792"/>
                <a:gd name="T10" fmla="*/ 748 w 920"/>
                <a:gd name="T11" fmla="*/ 620 h 792"/>
                <a:gd name="T12" fmla="*/ 920 w 920"/>
                <a:gd name="T13" fmla="*/ 792 h 792"/>
                <a:gd name="T14" fmla="*/ 920 w 920"/>
                <a:gd name="T15" fmla="*/ 60 h 792"/>
                <a:gd name="T16" fmla="*/ 860 w 920"/>
                <a:gd name="T17" fmla="*/ 0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792">
                  <a:moveTo>
                    <a:pt x="860" y="0"/>
                  </a:moveTo>
                  <a:cubicBezTo>
                    <a:pt x="60" y="0"/>
                    <a:pt x="60" y="0"/>
                    <a:pt x="60" y="0"/>
                  </a:cubicBezTo>
                  <a:cubicBezTo>
                    <a:pt x="25" y="0"/>
                    <a:pt x="0" y="25"/>
                    <a:pt x="0" y="60"/>
                  </a:cubicBezTo>
                  <a:cubicBezTo>
                    <a:pt x="0" y="560"/>
                    <a:pt x="0" y="560"/>
                    <a:pt x="0" y="560"/>
                  </a:cubicBezTo>
                  <a:cubicBezTo>
                    <a:pt x="0" y="596"/>
                    <a:pt x="25" y="620"/>
                    <a:pt x="60" y="620"/>
                  </a:cubicBezTo>
                  <a:cubicBezTo>
                    <a:pt x="748" y="620"/>
                    <a:pt x="748" y="620"/>
                    <a:pt x="748" y="620"/>
                  </a:cubicBezTo>
                  <a:cubicBezTo>
                    <a:pt x="920" y="792"/>
                    <a:pt x="920" y="792"/>
                    <a:pt x="920" y="792"/>
                  </a:cubicBezTo>
                  <a:cubicBezTo>
                    <a:pt x="920" y="60"/>
                    <a:pt x="920" y="60"/>
                    <a:pt x="920" y="60"/>
                  </a:cubicBezTo>
                  <a:cubicBezTo>
                    <a:pt x="920" y="25"/>
                    <a:pt x="895" y="0"/>
                    <a:pt x="86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sz="1200">
                  <a:solidFill>
                    <a:schemeClr val="bg1"/>
                  </a:solidFill>
                </a:rPr>
                <a:t>Will highlight any gaps in understanding the Principles.</a:t>
              </a:r>
            </a:p>
            <a:p>
              <a:endParaRPr lang="en-GB" sz="1200">
                <a:solidFill>
                  <a:schemeClr val="bg1"/>
                </a:solidFill>
              </a:endParaRPr>
            </a:p>
            <a:p>
              <a:r>
                <a:rPr lang="en-GB" sz="1200">
                  <a:solidFill>
                    <a:schemeClr val="bg1"/>
                  </a:solidFill>
                </a:rPr>
                <a:t>Will provide a basis for discussion with Lloyd’s to “compare and contrast” managing agent vs Lloyd’s views  against the Principles </a:t>
              </a:r>
            </a:p>
            <a:p>
              <a:endParaRPr lang="en-GB" sz="1200">
                <a:solidFill>
                  <a:schemeClr val="bg1"/>
                </a:solidFill>
              </a:endParaRPr>
            </a:p>
          </p:txBody>
        </p:sp>
      </p:grpSp>
    </p:spTree>
    <p:extLst>
      <p:ext uri="{BB962C8B-B14F-4D97-AF65-F5344CB8AC3E}">
        <p14:creationId xmlns:p14="http://schemas.microsoft.com/office/powerpoint/2010/main" val="20434755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8BD9323-044F-45C0-A868-913BBAC2C660}"/>
              </a:ext>
            </a:extLst>
          </p:cNvPr>
          <p:cNvPicPr>
            <a:picLocks noChangeAspect="1"/>
          </p:cNvPicPr>
          <p:nvPr/>
        </p:nvPicPr>
        <p:blipFill>
          <a:blip r:embed="rId2"/>
          <a:stretch>
            <a:fillRect/>
          </a:stretch>
        </p:blipFill>
        <p:spPr>
          <a:xfrm>
            <a:off x="2072617" y="339366"/>
            <a:ext cx="8046766" cy="5896466"/>
          </a:xfrm>
          <a:prstGeom prst="rect">
            <a:avLst/>
          </a:prstGeom>
        </p:spPr>
      </p:pic>
    </p:spTree>
    <p:extLst>
      <p:ext uri="{BB962C8B-B14F-4D97-AF65-F5344CB8AC3E}">
        <p14:creationId xmlns:p14="http://schemas.microsoft.com/office/powerpoint/2010/main" val="3997671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2CB6E-C260-4465-9970-9A27AAF8CFB1}"/>
              </a:ext>
            </a:extLst>
          </p:cNvPr>
          <p:cNvSpPr>
            <a:spLocks noGrp="1"/>
          </p:cNvSpPr>
          <p:nvPr>
            <p:ph type="title"/>
          </p:nvPr>
        </p:nvSpPr>
        <p:spPr/>
        <p:txBody>
          <a:bodyPr/>
          <a:lstStyle/>
          <a:p>
            <a:r>
              <a:rPr lang="en-GB"/>
              <a:t>Self-assessment Principles rating</a:t>
            </a:r>
          </a:p>
        </p:txBody>
      </p:sp>
      <p:sp>
        <p:nvSpPr>
          <p:cNvPr id="3" name="Text Placeholder 2">
            <a:extLst>
              <a:ext uri="{FF2B5EF4-FFF2-40B4-BE49-F238E27FC236}">
                <a16:creationId xmlns:a16="http://schemas.microsoft.com/office/drawing/2014/main" id="{B1B62ABD-57E9-4359-9FF2-9FF17E6C1FF4}"/>
              </a:ext>
            </a:extLst>
          </p:cNvPr>
          <p:cNvSpPr>
            <a:spLocks noGrp="1"/>
          </p:cNvSpPr>
          <p:nvPr>
            <p:ph type="body" sz="quarter" idx="16"/>
          </p:nvPr>
        </p:nvSpPr>
        <p:spPr>
          <a:xfrm>
            <a:off x="6119999" y="6623050"/>
            <a:ext cx="5114925" cy="252000"/>
          </a:xfrm>
        </p:spPr>
        <p:txBody>
          <a:bodyPr/>
          <a:lstStyle/>
          <a:p>
            <a:endParaRPr lang="en-GB"/>
          </a:p>
        </p:txBody>
      </p:sp>
      <p:sp>
        <p:nvSpPr>
          <p:cNvPr id="4" name="Text Placeholder 3">
            <a:extLst>
              <a:ext uri="{FF2B5EF4-FFF2-40B4-BE49-F238E27FC236}">
                <a16:creationId xmlns:a16="http://schemas.microsoft.com/office/drawing/2014/main" id="{7628C24E-95E2-481A-A821-373F13A981AC}"/>
              </a:ext>
            </a:extLst>
          </p:cNvPr>
          <p:cNvSpPr>
            <a:spLocks noGrp="1"/>
          </p:cNvSpPr>
          <p:nvPr>
            <p:ph type="body" sz="quarter" idx="17"/>
          </p:nvPr>
        </p:nvSpPr>
        <p:spPr/>
        <p:txBody>
          <a:bodyPr/>
          <a:lstStyle/>
          <a:p>
            <a:r>
              <a:rPr lang="en-GB"/>
              <a:t>Principle 13: Culture</a:t>
            </a:r>
          </a:p>
        </p:txBody>
      </p:sp>
      <p:graphicFrame>
        <p:nvGraphicFramePr>
          <p:cNvPr id="9" name="Table 8">
            <a:extLst>
              <a:ext uri="{FF2B5EF4-FFF2-40B4-BE49-F238E27FC236}">
                <a16:creationId xmlns:a16="http://schemas.microsoft.com/office/drawing/2014/main" id="{0B6AA2B9-13E3-4A09-AA7D-31497DCCEB52}"/>
              </a:ext>
            </a:extLst>
          </p:cNvPr>
          <p:cNvGraphicFramePr>
            <a:graphicFrameLocks noGrp="1"/>
          </p:cNvGraphicFramePr>
          <p:nvPr/>
        </p:nvGraphicFramePr>
        <p:xfrm>
          <a:off x="540000" y="1517398"/>
          <a:ext cx="11166130" cy="3524673"/>
        </p:xfrm>
        <a:graphic>
          <a:graphicData uri="http://schemas.openxmlformats.org/drawingml/2006/table">
            <a:tbl>
              <a:tblPr/>
              <a:tblGrid>
                <a:gridCol w="1170475">
                  <a:extLst>
                    <a:ext uri="{9D8B030D-6E8A-4147-A177-3AD203B41FA5}">
                      <a16:colId xmlns:a16="http://schemas.microsoft.com/office/drawing/2014/main" val="1057108503"/>
                    </a:ext>
                  </a:extLst>
                </a:gridCol>
                <a:gridCol w="2254727">
                  <a:extLst>
                    <a:ext uri="{9D8B030D-6E8A-4147-A177-3AD203B41FA5}">
                      <a16:colId xmlns:a16="http://schemas.microsoft.com/office/drawing/2014/main" val="2905323731"/>
                    </a:ext>
                  </a:extLst>
                </a:gridCol>
                <a:gridCol w="1082431">
                  <a:extLst>
                    <a:ext uri="{9D8B030D-6E8A-4147-A177-3AD203B41FA5}">
                      <a16:colId xmlns:a16="http://schemas.microsoft.com/office/drawing/2014/main" val="2246585264"/>
                    </a:ext>
                  </a:extLst>
                </a:gridCol>
                <a:gridCol w="1082431">
                  <a:extLst>
                    <a:ext uri="{9D8B030D-6E8A-4147-A177-3AD203B41FA5}">
                      <a16:colId xmlns:a16="http://schemas.microsoft.com/office/drawing/2014/main" val="342193256"/>
                    </a:ext>
                  </a:extLst>
                </a:gridCol>
                <a:gridCol w="5576066">
                  <a:extLst>
                    <a:ext uri="{9D8B030D-6E8A-4147-A177-3AD203B41FA5}">
                      <a16:colId xmlns:a16="http://schemas.microsoft.com/office/drawing/2014/main" val="185280469"/>
                    </a:ext>
                  </a:extLst>
                </a:gridCol>
              </a:tblGrid>
              <a:tr h="287443">
                <a:tc rowSpan="2" gridSpan="2">
                  <a:txBody>
                    <a:bodyPr/>
                    <a:lstStyle/>
                    <a:p>
                      <a:pPr algn="ctr" fontAlgn="ctr"/>
                      <a:r>
                        <a:rPr lang="en-GB" sz="700" b="1" i="0" u="none" strike="noStrike">
                          <a:solidFill>
                            <a:srgbClr val="000000"/>
                          </a:solidFill>
                          <a:effectLst/>
                          <a:latin typeface="Arial" panose="020B0604020202020204" pitchFamily="34" charset="0"/>
                        </a:rPr>
                        <a:t>Principle</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rowSpan="2" hMerge="1">
                  <a:txBody>
                    <a:bodyPr/>
                    <a:lstStyle/>
                    <a:p>
                      <a:endParaRPr lang="en-GB"/>
                    </a:p>
                  </a:txBody>
                  <a:tcPr/>
                </a:tc>
                <a:tc rowSpan="2">
                  <a:txBody>
                    <a:bodyPr/>
                    <a:lstStyle/>
                    <a:p>
                      <a:pPr algn="ctr" fontAlgn="ctr"/>
                      <a:r>
                        <a:rPr lang="en-GB" sz="700" b="1" i="0" u="none" strike="noStrike">
                          <a:solidFill>
                            <a:srgbClr val="000000"/>
                          </a:solidFill>
                          <a:effectLst/>
                          <a:latin typeface="Arial" panose="020B0604020202020204" pitchFamily="34" charset="0"/>
                        </a:rPr>
                        <a:t>Expected Matur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rowSpan="2">
                  <a:txBody>
                    <a:bodyPr/>
                    <a:lstStyle/>
                    <a:p>
                      <a:pPr algn="ctr" fontAlgn="ctr"/>
                      <a:r>
                        <a:rPr lang="en-GB" sz="700" b="1" i="0" u="none" strike="noStrike">
                          <a:solidFill>
                            <a:srgbClr val="000000"/>
                          </a:solidFill>
                          <a:effectLst/>
                          <a:latin typeface="Arial" panose="020B0604020202020204" pitchFamily="34" charset="0"/>
                        </a:rPr>
                        <a:t> Managing Agent Assessment of Maturity</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GB" sz="700" b="1" i="0" u="none" strike="noStrike">
                          <a:solidFill>
                            <a:srgbClr val="000000"/>
                          </a:solidFill>
                          <a:effectLst/>
                          <a:latin typeface="Arial" panose="020B0604020202020204" pitchFamily="34" charset="0"/>
                        </a:rPr>
                        <a:t>Commentary</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849917237"/>
                  </a:ext>
                </a:extLst>
              </a:tr>
              <a:tr h="676910">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700" b="0" i="0" u="none" strike="noStrike">
                          <a:solidFill>
                            <a:srgbClr val="000000"/>
                          </a:solidFill>
                          <a:effectLst/>
                          <a:latin typeface="Arial" panose="020B0604020202020204" pitchFamily="34" charset="0"/>
                        </a:rPr>
                        <a:t>To include:</a:t>
                      </a:r>
                      <a:br>
                        <a:rPr lang="en-GB" sz="700" b="0" i="0" u="none" strike="noStrike">
                          <a:solidFill>
                            <a:srgbClr val="000000"/>
                          </a:solidFill>
                          <a:effectLst/>
                          <a:latin typeface="Arial" panose="020B0604020202020204" pitchFamily="34" charset="0"/>
                        </a:rPr>
                      </a:br>
                      <a:r>
                        <a:rPr lang="en-GB" sz="700" b="0" i="0" u="none" strike="noStrike">
                          <a:solidFill>
                            <a:srgbClr val="000000"/>
                          </a:solidFill>
                          <a:effectLst/>
                          <a:latin typeface="Arial" panose="020B0604020202020204" pitchFamily="34" charset="0"/>
                        </a:rPr>
                        <a:t>- Rationale, where expected maturity level is met</a:t>
                      </a:r>
                      <a:br>
                        <a:rPr lang="en-GB" sz="700" b="0" i="0" u="none" strike="noStrike">
                          <a:solidFill>
                            <a:srgbClr val="000000"/>
                          </a:solidFill>
                          <a:effectLst/>
                          <a:latin typeface="Arial" panose="020B0604020202020204" pitchFamily="34" charset="0"/>
                        </a:rPr>
                      </a:br>
                      <a:r>
                        <a:rPr lang="en-GB" sz="700" b="0" i="0" u="none" strike="noStrike">
                          <a:solidFill>
                            <a:srgbClr val="000000"/>
                          </a:solidFill>
                          <a:effectLst/>
                          <a:latin typeface="Arial" panose="020B0604020202020204" pitchFamily="34" charset="0"/>
                        </a:rPr>
                        <a:t>- Commentary, where expected maturity is not met, including detail on gaps, planned remedial actions, timescales and owners</a:t>
                      </a:r>
                      <a:br>
                        <a:rPr lang="en-GB" sz="700" b="0" i="0" u="none" strike="noStrike">
                          <a:solidFill>
                            <a:srgbClr val="000000"/>
                          </a:solidFill>
                          <a:effectLst/>
                          <a:latin typeface="Arial" panose="020B0604020202020204" pitchFamily="34" charset="0"/>
                        </a:rPr>
                      </a:br>
                      <a:r>
                        <a:rPr lang="en-GB" sz="700" b="0" i="0" u="none" strike="noStrike">
                          <a:solidFill>
                            <a:srgbClr val="000000"/>
                          </a:solidFill>
                          <a:effectLst/>
                          <a:latin typeface="Arial" panose="020B0604020202020204" pitchFamily="34" charset="0"/>
                        </a:rPr>
                        <a:t>- Questions for clarification with Lloyd's, for example to check the meaning or interpretation of the Principles guidance.</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688766611"/>
                  </a:ext>
                </a:extLst>
              </a:tr>
              <a:tr h="474980">
                <a:tc gridSpan="2">
                  <a:txBody>
                    <a:bodyPr/>
                    <a:lstStyle/>
                    <a:p>
                      <a:pPr algn="l" fontAlgn="ctr"/>
                      <a:r>
                        <a:rPr lang="en-GB" sz="700" b="1" i="0" u="none" strike="noStrike">
                          <a:solidFill>
                            <a:srgbClr val="000000"/>
                          </a:solidFill>
                          <a:effectLst/>
                          <a:latin typeface="Arial" panose="020B0604020202020204" pitchFamily="34" charset="0"/>
                        </a:rPr>
                        <a:t>13. Culture</a:t>
                      </a:r>
                      <a:br>
                        <a:rPr lang="en-GB" sz="700" b="0" i="0" u="none" strike="noStrike">
                          <a:solidFill>
                            <a:srgbClr val="000000"/>
                          </a:solidFill>
                          <a:effectLst/>
                          <a:latin typeface="Arial" panose="020B0604020202020204" pitchFamily="34" charset="0"/>
                        </a:rPr>
                      </a:br>
                      <a:r>
                        <a:rPr lang="en-GB" sz="700" b="0" i="0" u="none" strike="noStrike">
                          <a:solidFill>
                            <a:srgbClr val="000000"/>
                          </a:solidFill>
                          <a:effectLst/>
                          <a:latin typeface="Arial" panose="020B0604020202020204" pitchFamily="34" charset="0"/>
                        </a:rPr>
                        <a:t>Managing agents should be inclusive, creating a diverse and high-performance culture.</a:t>
                      </a:r>
                      <a:endParaRPr lang="en-GB" sz="700" b="1" i="0" u="none" strike="noStrike">
                        <a:solidFill>
                          <a:srgbClr val="000000"/>
                        </a:solidFill>
                        <a:effectLst/>
                        <a:latin typeface="Arial" panose="020B0604020202020204" pitchFamily="34" charset="0"/>
                      </a:endParaRP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GB"/>
                    </a:p>
                  </a:txBody>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BELOW FOUNDATIONAL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ctr"/>
                      <a:r>
                        <a:rPr lang="en-GB" sz="700" b="0" i="0" u="none" strike="noStrike">
                          <a:solidFill>
                            <a:srgbClr val="000000"/>
                          </a:solidFill>
                          <a:effectLst/>
                          <a:latin typeface="Arial" panose="020B0604020202020204" pitchFamily="34" charset="0"/>
                        </a:rPr>
                        <a:t>Overall Culture is currently Below Foundational. Plans are in place to address the gaps, starting with data, and strengthening how speaking up is managed. The Culture and Inclusion Advisory Group will take a lead role in reviewing firm culture and developing a culture plan, as a pillar of our strategy. </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44710965"/>
                  </a:ext>
                </a:extLst>
              </a:tr>
              <a:tr h="297180">
                <a:tc>
                  <a:txBody>
                    <a:bodyPr/>
                    <a:lstStyle/>
                    <a:p>
                      <a:pPr algn="ctr" fontAlgn="ctr"/>
                      <a:r>
                        <a:rPr lang="en-GB" sz="700" b="0" i="0" u="none" strike="noStrike">
                          <a:solidFill>
                            <a:srgbClr val="000000"/>
                          </a:solidFill>
                          <a:effectLst/>
                          <a:latin typeface="Arial" panose="020B0604020202020204" pitchFamily="34" charset="0"/>
                        </a:rPr>
                        <a:t>Sub Principle 1</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Demonstrate leadership focus on fostering an inclusive, high-performance cultur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l" fontAlgn="ctr"/>
                      <a:r>
                        <a:rPr lang="en-GB" sz="700" b="0" i="0" u="none" strike="noStrike">
                          <a:solidFill>
                            <a:srgbClr val="000000"/>
                          </a:solidFill>
                          <a:effectLst/>
                          <a:latin typeface="Arial" panose="020B0604020202020204" pitchFamily="34" charset="0"/>
                        </a:rPr>
                        <a:t>A Culture and Inclusion Advisory Group is being set up, led by Member of ExCo, who will undertake a culture review in 2022 and develop a culture plan, involving employees. The Advisory Group will report to the Board on progress</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2240188"/>
                  </a:ext>
                </a:extLst>
              </a:tr>
              <a:tr h="341630">
                <a:tc>
                  <a:txBody>
                    <a:bodyPr/>
                    <a:lstStyle/>
                    <a:p>
                      <a:pPr algn="ctr" fontAlgn="ctr"/>
                      <a:r>
                        <a:rPr lang="en-GB" sz="700" b="0" i="0" u="none" strike="noStrike">
                          <a:solidFill>
                            <a:srgbClr val="000000"/>
                          </a:solidFill>
                          <a:effectLst/>
                          <a:latin typeface="Arial" panose="020B0604020202020204" pitchFamily="34" charset="0"/>
                        </a:rPr>
                        <a:t>Sub Principle 2</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Ensure behaviour expectations are clear and there is zero tolerance for inappropriate behaviour</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 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l" fontAlgn="ctr"/>
                      <a:r>
                        <a:rPr lang="en-GB" sz="700" b="0" i="0" u="none" strike="noStrike">
                          <a:solidFill>
                            <a:srgbClr val="000000"/>
                          </a:solidFill>
                          <a:effectLst/>
                          <a:latin typeface="Arial" panose="020B0604020202020204" pitchFamily="34" charset="0"/>
                        </a:rPr>
                        <a:t>In Q4 2021 the code of conduct, which outlines behavioural expectations was communicated to all employees. It is also included in employee induction and forms part of annual mandatory training, along with mandatory diversity and inclusion training for all employees. </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1774625"/>
                  </a:ext>
                </a:extLst>
              </a:tr>
              <a:tr h="341630">
                <a:tc>
                  <a:txBody>
                    <a:bodyPr/>
                    <a:lstStyle/>
                    <a:p>
                      <a:pPr algn="ctr" fontAlgn="ctr"/>
                      <a:r>
                        <a:rPr lang="en-GB" sz="700" b="0" i="0" u="none" strike="noStrike">
                          <a:solidFill>
                            <a:srgbClr val="000000"/>
                          </a:solidFill>
                          <a:effectLst/>
                          <a:latin typeface="Arial" panose="020B0604020202020204" pitchFamily="34" charset="0"/>
                        </a:rPr>
                        <a:t>Sub Principle 3</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Encourage speaking up, ensuring there are appropriate tools for employees to do so, and the tone is set from the top​</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Below 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l" fontAlgn="ctr"/>
                      <a:r>
                        <a:rPr lang="en-GB" sz="700" b="0" i="0" u="none" strike="noStrike">
                          <a:solidFill>
                            <a:srgbClr val="000000"/>
                          </a:solidFill>
                          <a:effectLst/>
                          <a:latin typeface="Arial" panose="020B0604020202020204" pitchFamily="34" charset="0"/>
                        </a:rPr>
                        <a:t>In 2021 a grievance related to sexual harassment was not handled well, resulting in the victim leaving the organisation. A review of how we manage grievances was undertaken by a law firm, who have provided recommendations that we started to implement in Q3 2021 which is ongoing. The case with the individual has been settled, with the perpetrator dismissed. We have run training for all employees and managers on how to raise concerns and how to respond when these matters are raised. We expect employee feedback on confidence to speak up and that management take concerns seriously to have improved in upcoming employee surveys</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1174093"/>
                  </a:ext>
                </a:extLst>
              </a:tr>
              <a:tr h="565150">
                <a:tc>
                  <a:txBody>
                    <a:bodyPr/>
                    <a:lstStyle/>
                    <a:p>
                      <a:pPr algn="ctr" fontAlgn="ctr"/>
                      <a:r>
                        <a:rPr lang="en-GB" sz="700" b="0" i="0" u="none" strike="noStrike">
                          <a:solidFill>
                            <a:srgbClr val="000000"/>
                          </a:solidFill>
                          <a:effectLst/>
                          <a:latin typeface="Arial" panose="020B0604020202020204" pitchFamily="34" charset="0"/>
                        </a:rPr>
                        <a:t>Sub Principle 4</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Ensure diverse representation within their workforce and their leadership population. Be inclusive in how they hire and retain talent and ensure they reflect society and their customers</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Foundational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GB" sz="700" b="0" i="0" u="none" strike="noStrike">
                          <a:solidFill>
                            <a:srgbClr val="000000"/>
                          </a:solidFill>
                          <a:effectLst/>
                          <a:latin typeface="Arial" panose="020B0604020202020204" pitchFamily="34" charset="0"/>
                        </a:rPr>
                        <a:t>% women in leadership is 22%, and we are quartile 2 against Lloyd’s market. </a:t>
                      </a:r>
                    </a:p>
                    <a:p>
                      <a:pPr algn="l" fontAlgn="ctr"/>
                      <a:r>
                        <a:rPr lang="en-GB" sz="700" b="0" i="0" u="none" strike="noStrike">
                          <a:solidFill>
                            <a:srgbClr val="000000"/>
                          </a:solidFill>
                          <a:effectLst/>
                          <a:latin typeface="Arial" panose="020B0604020202020204" pitchFamily="34" charset="0"/>
                        </a:rPr>
                        <a:t>Representation of ethnic minorities is unknown as we do not yet collect this data, but indications are it is also low. Our actions start with collecting data in H1 2022, which will be reviewed by the Culture and Inclusion Advisory Group to develop an action plan to improve diversity and inclusion. </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91344670"/>
                  </a:ext>
                </a:extLst>
              </a:tr>
              <a:tr h="341630">
                <a:tc>
                  <a:txBody>
                    <a:bodyPr/>
                    <a:lstStyle/>
                    <a:p>
                      <a:pPr algn="ctr" fontAlgn="ctr"/>
                      <a:r>
                        <a:rPr lang="en-GB" sz="700" b="0" i="0" u="none" strike="noStrike">
                          <a:solidFill>
                            <a:srgbClr val="000000"/>
                          </a:solidFill>
                          <a:effectLst/>
                          <a:latin typeface="Arial" panose="020B0604020202020204" pitchFamily="34" charset="0"/>
                        </a:rPr>
                        <a:t>Sub Principle 5</a:t>
                      </a:r>
                    </a:p>
                  </a:txBody>
                  <a:tcPr marL="6350" marR="6350" marT="635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Understand their employee population, collect appropriate data and take action to create an inclusive employee experienc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GB" sz="700" b="1" i="0" u="none" strike="noStrike">
                          <a:solidFill>
                            <a:srgbClr val="000000"/>
                          </a:solidFill>
                          <a:effectLst/>
                          <a:latin typeface="Arial" panose="020B0604020202020204" pitchFamily="34" charset="0"/>
                        </a:rPr>
                        <a:t>Foundational</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590FF"/>
                    </a:solidFill>
                  </a:tcPr>
                </a:tc>
                <a:tc>
                  <a:txBody>
                    <a:bodyPr/>
                    <a:lstStyle/>
                    <a:p>
                      <a:pPr algn="ctr" fontAlgn="ctr"/>
                      <a:r>
                        <a:rPr lang="en-GB" sz="700" b="1" i="0" u="none" strike="noStrike">
                          <a:solidFill>
                            <a:srgbClr val="000000"/>
                          </a:solidFill>
                          <a:effectLst/>
                          <a:latin typeface="Arial" panose="020B0604020202020204" pitchFamily="34" charset="0"/>
                        </a:rPr>
                        <a:t>Foundational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l" fontAlgn="ctr"/>
                      <a:r>
                        <a:rPr lang="en-GB" sz="700" b="0" i="0" u="none" strike="noStrike">
                          <a:solidFill>
                            <a:srgbClr val="000000"/>
                          </a:solidFill>
                          <a:effectLst/>
                          <a:latin typeface="Arial" panose="020B0604020202020204" pitchFamily="34" charset="0"/>
                        </a:rPr>
                        <a:t>Currently only gender data is collected. No other diversity data. HR system being upgraded and diversity data campaign to be run in H1 to collect broad diversity data including ethnicity, disability, sexual orientation, age . </a:t>
                      </a:r>
                    </a:p>
                  </a:txBody>
                  <a:tcPr marL="6350" marR="6350" marT="635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9316286"/>
                  </a:ext>
                </a:extLst>
              </a:tr>
            </a:tbl>
          </a:graphicData>
        </a:graphic>
      </p:graphicFrame>
    </p:spTree>
    <p:extLst>
      <p:ext uri="{BB962C8B-B14F-4D97-AF65-F5344CB8AC3E}">
        <p14:creationId xmlns:p14="http://schemas.microsoft.com/office/powerpoint/2010/main" val="31383651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62CB6E-C260-4465-9970-9A27AAF8CFB1}"/>
              </a:ext>
            </a:extLst>
          </p:cNvPr>
          <p:cNvSpPr>
            <a:spLocks noGrp="1"/>
          </p:cNvSpPr>
          <p:nvPr>
            <p:ph type="title"/>
          </p:nvPr>
        </p:nvSpPr>
        <p:spPr/>
        <p:txBody>
          <a:bodyPr/>
          <a:lstStyle/>
          <a:p>
            <a:r>
              <a:rPr lang="en-GB"/>
              <a:t>Self-assessment Principles rating</a:t>
            </a:r>
          </a:p>
        </p:txBody>
      </p:sp>
      <p:sp>
        <p:nvSpPr>
          <p:cNvPr id="4" name="Text Placeholder 3">
            <a:extLst>
              <a:ext uri="{FF2B5EF4-FFF2-40B4-BE49-F238E27FC236}">
                <a16:creationId xmlns:a16="http://schemas.microsoft.com/office/drawing/2014/main" id="{7628C24E-95E2-481A-A821-373F13A981AC}"/>
              </a:ext>
            </a:extLst>
          </p:cNvPr>
          <p:cNvSpPr>
            <a:spLocks noGrp="1"/>
          </p:cNvSpPr>
          <p:nvPr>
            <p:ph type="body" sz="quarter" idx="17"/>
          </p:nvPr>
        </p:nvSpPr>
        <p:spPr/>
        <p:txBody>
          <a:bodyPr/>
          <a:lstStyle/>
          <a:p>
            <a:r>
              <a:rPr lang="en-GB"/>
              <a:t>Principle 10: Governance, Risk Management and Reporting</a:t>
            </a:r>
          </a:p>
        </p:txBody>
      </p:sp>
      <p:sp>
        <p:nvSpPr>
          <p:cNvPr id="8" name="Rectangle 7">
            <a:extLst>
              <a:ext uri="{FF2B5EF4-FFF2-40B4-BE49-F238E27FC236}">
                <a16:creationId xmlns:a16="http://schemas.microsoft.com/office/drawing/2014/main" id="{B0C368A6-BD76-4FB6-AB80-AE5B7D0F1A44}"/>
              </a:ext>
            </a:extLst>
          </p:cNvPr>
          <p:cNvSpPr/>
          <p:nvPr/>
        </p:nvSpPr>
        <p:spPr>
          <a:xfrm>
            <a:off x="7673340" y="771352"/>
            <a:ext cx="3522285" cy="5609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solidFill>
              </a:rPr>
              <a:t>Expected Maturity: Advanced</a:t>
            </a:r>
          </a:p>
          <a:p>
            <a:pPr algn="ctr"/>
            <a:r>
              <a:rPr lang="en-GB">
                <a:solidFill>
                  <a:schemeClr val="bg1"/>
                </a:solidFill>
              </a:rPr>
              <a:t>Actual Maturity: Advanced</a:t>
            </a:r>
          </a:p>
        </p:txBody>
      </p:sp>
      <p:graphicFrame>
        <p:nvGraphicFramePr>
          <p:cNvPr id="6" name="Table 5">
            <a:extLst>
              <a:ext uri="{FF2B5EF4-FFF2-40B4-BE49-F238E27FC236}">
                <a16:creationId xmlns:a16="http://schemas.microsoft.com/office/drawing/2014/main" id="{9125896F-FD58-4087-A9A8-D474C2823A56}"/>
              </a:ext>
            </a:extLst>
          </p:cNvPr>
          <p:cNvGraphicFramePr>
            <a:graphicFrameLocks noGrp="1"/>
          </p:cNvGraphicFramePr>
          <p:nvPr/>
        </p:nvGraphicFramePr>
        <p:xfrm>
          <a:off x="533400" y="1458275"/>
          <a:ext cx="11166600" cy="5383549"/>
        </p:xfrm>
        <a:graphic>
          <a:graphicData uri="http://schemas.openxmlformats.org/drawingml/2006/table">
            <a:tbl>
              <a:tblPr/>
              <a:tblGrid>
                <a:gridCol w="588063">
                  <a:extLst>
                    <a:ext uri="{9D8B030D-6E8A-4147-A177-3AD203B41FA5}">
                      <a16:colId xmlns:a16="http://schemas.microsoft.com/office/drawing/2014/main" val="2147748649"/>
                    </a:ext>
                  </a:extLst>
                </a:gridCol>
                <a:gridCol w="2832744">
                  <a:extLst>
                    <a:ext uri="{9D8B030D-6E8A-4147-A177-3AD203B41FA5}">
                      <a16:colId xmlns:a16="http://schemas.microsoft.com/office/drawing/2014/main" val="1663432767"/>
                    </a:ext>
                  </a:extLst>
                </a:gridCol>
                <a:gridCol w="958836">
                  <a:extLst>
                    <a:ext uri="{9D8B030D-6E8A-4147-A177-3AD203B41FA5}">
                      <a16:colId xmlns:a16="http://schemas.microsoft.com/office/drawing/2014/main" val="1960314119"/>
                    </a:ext>
                  </a:extLst>
                </a:gridCol>
                <a:gridCol w="958836">
                  <a:extLst>
                    <a:ext uri="{9D8B030D-6E8A-4147-A177-3AD203B41FA5}">
                      <a16:colId xmlns:a16="http://schemas.microsoft.com/office/drawing/2014/main" val="228821453"/>
                    </a:ext>
                  </a:extLst>
                </a:gridCol>
                <a:gridCol w="5828121">
                  <a:extLst>
                    <a:ext uri="{9D8B030D-6E8A-4147-A177-3AD203B41FA5}">
                      <a16:colId xmlns:a16="http://schemas.microsoft.com/office/drawing/2014/main" val="3655400925"/>
                    </a:ext>
                  </a:extLst>
                </a:gridCol>
              </a:tblGrid>
              <a:tr h="312048">
                <a:tc rowSpan="2" gridSpan="2">
                  <a:txBody>
                    <a:bodyPr/>
                    <a:lstStyle/>
                    <a:p>
                      <a:pPr algn="ctr" fontAlgn="ctr"/>
                      <a:r>
                        <a:rPr lang="en-GB" sz="800" b="1" i="0" u="none" strike="noStrike">
                          <a:solidFill>
                            <a:srgbClr val="000000"/>
                          </a:solidFill>
                          <a:effectLst/>
                          <a:latin typeface="Arial" panose="020B0604020202020204" pitchFamily="34" charset="0"/>
                        </a:rPr>
                        <a:t>Principl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rowSpan="2" hMerge="1">
                  <a:txBody>
                    <a:bodyPr/>
                    <a:lstStyle/>
                    <a:p>
                      <a:endParaRPr lang="en-GB"/>
                    </a:p>
                  </a:txBody>
                  <a:tcPr/>
                </a:tc>
                <a:tc rowSpan="2">
                  <a:txBody>
                    <a:bodyPr/>
                    <a:lstStyle/>
                    <a:p>
                      <a:pPr algn="ctr" fontAlgn="ctr"/>
                      <a:r>
                        <a:rPr lang="en-GB" sz="800" b="1" i="0" u="none" strike="noStrike">
                          <a:solidFill>
                            <a:srgbClr val="000000"/>
                          </a:solidFill>
                          <a:effectLst/>
                          <a:latin typeface="Arial" panose="020B0604020202020204" pitchFamily="34" charset="0"/>
                        </a:rPr>
                        <a:t>Expected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rowSpan="2">
                  <a:txBody>
                    <a:bodyPr/>
                    <a:lstStyle/>
                    <a:p>
                      <a:pPr algn="ctr" fontAlgn="ctr"/>
                      <a:r>
                        <a:rPr lang="en-GB" sz="800" b="1" i="0" u="none" strike="noStrike">
                          <a:solidFill>
                            <a:srgbClr val="000000"/>
                          </a:solidFill>
                          <a:effectLst/>
                          <a:latin typeface="Arial" panose="020B0604020202020204" pitchFamily="34" charset="0"/>
                        </a:rPr>
                        <a:t> Agent assessment of Maturit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algn="ctr" fontAlgn="ctr"/>
                      <a:r>
                        <a:rPr lang="en-GB" sz="800" b="1" i="0" u="none" strike="noStrike">
                          <a:solidFill>
                            <a:srgbClr val="000000"/>
                          </a:solidFill>
                          <a:effectLst/>
                          <a:latin typeface="Arial" panose="020B0604020202020204" pitchFamily="34" charset="0"/>
                        </a:rPr>
                        <a:t>Commentary</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040789284"/>
                  </a:ext>
                </a:extLst>
              </a:tr>
              <a:tr h="727959">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l" fontAlgn="ctr"/>
                      <a:r>
                        <a:rPr lang="en-GB" sz="800" b="0" i="0" u="none" strike="noStrike">
                          <a:solidFill>
                            <a:srgbClr val="000000"/>
                          </a:solidFill>
                          <a:effectLst/>
                          <a:latin typeface="Arial" panose="020B0604020202020204" pitchFamily="34" charset="0"/>
                        </a:rPr>
                        <a:t>To include:</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 Rationale, where expected maturity level is met</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 Commentary, where expected maturity is not met, including detail on gaps, planned remedial actions, timescales and owners</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 Questions for clarification with Lloyd's, for example to check the meaning or interpretation of the Principles guidance.</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335046533"/>
                  </a:ext>
                </a:extLst>
              </a:tr>
              <a:tr h="744504">
                <a:tc gridSpan="2">
                  <a:txBody>
                    <a:bodyPr/>
                    <a:lstStyle/>
                    <a:p>
                      <a:pPr algn="l" fontAlgn="ctr"/>
                      <a:r>
                        <a:rPr lang="en-GB" sz="800" b="1" i="0" u="none" strike="noStrike">
                          <a:solidFill>
                            <a:srgbClr val="000000"/>
                          </a:solidFill>
                          <a:effectLst/>
                          <a:latin typeface="Arial" panose="020B0604020202020204" pitchFamily="34" charset="0"/>
                        </a:rPr>
                        <a:t>10. Governance, Risk Management and Reporting</a:t>
                      </a:r>
                      <a:br>
                        <a:rPr lang="en-GB" sz="800" b="0" i="0" u="none" strike="noStrike">
                          <a:solidFill>
                            <a:srgbClr val="000000"/>
                          </a:solidFill>
                          <a:effectLst/>
                          <a:latin typeface="Arial" panose="020B0604020202020204" pitchFamily="34" charset="0"/>
                        </a:rPr>
                      </a:br>
                      <a:r>
                        <a:rPr lang="en-GB" sz="800" b="0" i="0" u="none" strike="noStrike">
                          <a:solidFill>
                            <a:srgbClr val="000000"/>
                          </a:solidFill>
                          <a:effectLst/>
                          <a:latin typeface="Arial" panose="020B0604020202020204" pitchFamily="34" charset="0"/>
                        </a:rPr>
                        <a:t>Managing agents should have governance structures and internal risk management and control frameworks in place which align to Solvency II requirements, enable sound and prudent management of the business and support delivery of the business strategy</a:t>
                      </a:r>
                      <a:endParaRPr lang="en-GB" sz="800" b="1" i="0" u="none" strike="noStrike">
                        <a:solidFill>
                          <a:srgbClr val="000000"/>
                        </a:solidFill>
                        <a:effectLst/>
                        <a:latin typeface="Arial" panose="020B0604020202020204" pitchFamily="34" charset="0"/>
                      </a:endParaRPr>
                    </a:p>
                  </a:txBody>
                  <a:tcPr marL="36000" marR="0" marT="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lang="en-GB"/>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As evidenced below, we have an appropriate and effective governance structure in place to ensure sound management of the business and compliance with all relevant requirements. A strong culture of good governance, effective risk management and independent challenge permeates throughout the business. The strategy and view from the top flows through all functions to enable their aims to align to the overall objectives of the business. Data, qualitative assessment and reporting is of high-quality, meaning decisions are built on strong foundation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241000660"/>
                  </a:ext>
                </a:extLst>
              </a:tr>
              <a:tr h="539771">
                <a:tc>
                  <a:txBody>
                    <a:bodyPr/>
                    <a:lstStyle/>
                    <a:p>
                      <a:pPr algn="ctr" fontAlgn="ctr"/>
                      <a:r>
                        <a:rPr lang="en-GB" sz="800" b="0" i="0" u="none" strike="noStrike">
                          <a:solidFill>
                            <a:srgbClr val="000000"/>
                          </a:solidFill>
                          <a:effectLst/>
                          <a:latin typeface="Arial" panose="020B0604020202020204" pitchFamily="34" charset="0"/>
                        </a:rPr>
                        <a:t>Sub Principle 1</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Manage a suitable board and committee structure which enables well informed, timely and accountable decision making</a:t>
                      </a:r>
                    </a:p>
                  </a:txBody>
                  <a:tcPr marL="3600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We have a well established and effective Board and committee structure, with track record of acting on independent advice and challenge. Strategy is routinely discussed and updated with input and ownership across the business. The effectiveness of Board and committees is regularly reviewed including periodic use of independent third parties. Our committee structure ensures that all business functions have appropriate Board or executive level committees with suitable reporting lines into the Board.</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98665629"/>
                  </a:ext>
                </a:extLst>
              </a:tr>
              <a:tr h="657354">
                <a:tc>
                  <a:txBody>
                    <a:bodyPr/>
                    <a:lstStyle/>
                    <a:p>
                      <a:pPr algn="ctr" fontAlgn="ctr"/>
                      <a:r>
                        <a:rPr lang="en-GB" sz="800" b="0" i="0" u="none" strike="noStrike">
                          <a:solidFill>
                            <a:srgbClr val="000000"/>
                          </a:solidFill>
                          <a:effectLst/>
                          <a:latin typeface="Arial" panose="020B0604020202020204" pitchFamily="34" charset="0"/>
                        </a:rPr>
                        <a:t>Sub Principle 2</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Operate a strong risk and control environment which allows for appropriate challenge</a:t>
                      </a:r>
                    </a:p>
                  </a:txBody>
                  <a:tcPr marL="3600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Risk culture is well embedded and demonstrated throughout the business. Risk Management views are clearly sought and help to drive decision making. All functions take active ownership for risk management activities and contribute to a continuous improvement process. This is lead top-down. Risk appetite is set by the Board and cascades throughout all risk metrics and monitoring activities, ensuring a link between functional level risk strategy/activities and the agreed appetites of the Board. A forward looking view of risk is considered highly important for how we assess, manage and discuss risk.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95115953"/>
                  </a:ext>
                </a:extLst>
              </a:tr>
              <a:tr h="539771">
                <a:tc>
                  <a:txBody>
                    <a:bodyPr/>
                    <a:lstStyle/>
                    <a:p>
                      <a:pPr algn="ctr" fontAlgn="ctr"/>
                      <a:r>
                        <a:rPr lang="en-GB" sz="800" b="0" i="0" u="none" strike="noStrike">
                          <a:solidFill>
                            <a:srgbClr val="000000"/>
                          </a:solidFill>
                          <a:effectLst/>
                          <a:latin typeface="Arial" panose="020B0604020202020204" pitchFamily="34" charset="0"/>
                        </a:rPr>
                        <a:t>Sub Principle 3</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Maintain appropriate oversight of operational processes for effective management of the business</a:t>
                      </a:r>
                    </a:p>
                  </a:txBody>
                  <a:tcPr marL="36000" marR="3600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The Board has regular sight of KPI reporting on key operational processes and resourcing. This is routinely challenged and the KPIs and SLAs are reviewed and changed where necessary. We are confident in the overall operational infrastructure and efficacy, through the assurance as evidenced by the ongoing cycle of internal audits with timely follow-up of finding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214184741"/>
                  </a:ext>
                </a:extLst>
              </a:tr>
              <a:tr h="422188">
                <a:tc>
                  <a:txBody>
                    <a:bodyPr/>
                    <a:lstStyle/>
                    <a:p>
                      <a:pPr algn="ctr" fontAlgn="ctr"/>
                      <a:r>
                        <a:rPr lang="en-GB" sz="800" b="0" i="0" u="none" strike="noStrike">
                          <a:solidFill>
                            <a:srgbClr val="000000"/>
                          </a:solidFill>
                          <a:effectLst/>
                          <a:latin typeface="Arial" panose="020B0604020202020204" pitchFamily="34" charset="0"/>
                        </a:rPr>
                        <a:t>Sub Principle 4</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Employ and develop people with appropriate skillsets and ensure the business is appropriately resourced​</a:t>
                      </a:r>
                    </a:p>
                  </a:txBody>
                  <a:tcPr marL="3600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We take development seriously with regular review of succession planning. Training, coaching and mentoring is actively provided to those identified as future leaders or key function holders. Staff engagement survey has consistently high scores for employee training and development. We promote an open and inclusive culture with a track record of acting on employee ideas.</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56298074"/>
                  </a:ext>
                </a:extLst>
              </a:tr>
              <a:tr h="529754">
                <a:tc>
                  <a:txBody>
                    <a:bodyPr/>
                    <a:lstStyle/>
                    <a:p>
                      <a:pPr algn="ctr" fontAlgn="ctr"/>
                      <a:r>
                        <a:rPr lang="en-GB" sz="800" b="0" i="0" u="none" strike="noStrike">
                          <a:solidFill>
                            <a:srgbClr val="000000"/>
                          </a:solidFill>
                          <a:effectLst/>
                          <a:latin typeface="Arial" panose="020B0604020202020204" pitchFamily="34" charset="0"/>
                        </a:rPr>
                        <a:t>Sub Principle 5</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Ensure decision making is supported by appropriate data and qualitative assessment</a:t>
                      </a:r>
                    </a:p>
                  </a:txBody>
                  <a:tcPr marL="3600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000000"/>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l" fontAlgn="ctr"/>
                      <a:r>
                        <a:rPr lang="en-GB" sz="800" b="0" i="0" u="none" strike="noStrike">
                          <a:solidFill>
                            <a:srgbClr val="000000"/>
                          </a:solidFill>
                          <a:effectLst/>
                          <a:latin typeface="Arial" panose="020B0604020202020204" pitchFamily="34" charset="0"/>
                        </a:rPr>
                        <a:t>Information presented to the Board is consistent, accessible and highly informative. The manner in which information is presented is under a constant cycle of review and development. Complex data supports analyses and is presented in a format which supports effective decision making.</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8647815"/>
                  </a:ext>
                </a:extLst>
              </a:tr>
              <a:tr h="606633">
                <a:tc>
                  <a:txBody>
                    <a:bodyPr/>
                    <a:lstStyle/>
                    <a:p>
                      <a:pPr algn="ctr" fontAlgn="ctr"/>
                      <a:r>
                        <a:rPr lang="en-GB" sz="800" b="0" i="0" u="none" strike="noStrike">
                          <a:solidFill>
                            <a:srgbClr val="000000"/>
                          </a:solidFill>
                          <a:effectLst/>
                          <a:latin typeface="Arial" panose="020B0604020202020204" pitchFamily="34" charset="0"/>
                        </a:rPr>
                        <a:t>Sub Principle 6</a:t>
                      </a:r>
                    </a:p>
                  </a:txBody>
                  <a:tcPr marL="3600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800" b="0" i="0" u="none" strike="noStrike">
                          <a:solidFill>
                            <a:srgbClr val="000000"/>
                          </a:solidFill>
                          <a:effectLst/>
                          <a:latin typeface="Arial" panose="020B0604020202020204" pitchFamily="34" charset="0"/>
                        </a:rPr>
                        <a:t>Maintain reporting, including all financial reporting, of a high quality and submit all reports in a timely, accurate and complete manner to Lloyd’s and to applicable regulators.</a:t>
                      </a:r>
                    </a:p>
                  </a:txBody>
                  <a:tcPr marL="3600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algn="ctr" fontAlgn="ctr"/>
                      <a:r>
                        <a:rPr kumimoji="0" lang="en-GB" sz="800" b="1" i="0" u="none" strike="noStrike" kern="1200" cap="none" spc="0" normalizeH="0" baseline="0" noProof="0">
                          <a:ln>
                            <a:noFill/>
                          </a:ln>
                          <a:solidFill>
                            <a:srgbClr val="FFFFFF"/>
                          </a:solidFill>
                          <a:effectLst/>
                          <a:uLnTx/>
                          <a:uFillTx/>
                          <a:latin typeface="Arial" panose="020B0604020202020204" pitchFamily="34" charset="0"/>
                          <a:ea typeface="+mn-ea"/>
                          <a:cs typeface="+mn-cs"/>
                        </a:rPr>
                        <a:t>Advanced</a:t>
                      </a:r>
                      <a:endParaRPr lang="en-GB" sz="800" b="1" i="0" u="none" strike="noStrike">
                        <a:solidFill>
                          <a:srgbClr val="FFFFFF"/>
                        </a:solidFill>
                        <a:effectLst/>
                        <a:latin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800" b="0" i="0" u="none" strike="noStrike">
                          <a:solidFill>
                            <a:srgbClr val="000000"/>
                          </a:solidFill>
                          <a:effectLst/>
                          <a:latin typeface="Arial" panose="020B0604020202020204" pitchFamily="34" charset="0"/>
                        </a:rPr>
                        <a:t>All reporting was submitted to Lloyd’s on time with a high accuracy. This has been verified by an internal monitoring process.</a:t>
                      </a:r>
                    </a:p>
                    <a:p>
                      <a:pPr algn="l" fontAlgn="ctr"/>
                      <a:r>
                        <a:rPr lang="en-GB" sz="800" b="0" i="0" u="none" strike="noStrike">
                          <a:solidFill>
                            <a:srgbClr val="000000"/>
                          </a:solidFill>
                          <a:effectLst/>
                          <a:latin typeface="Arial" panose="020B0604020202020204" pitchFamily="34" charset="0"/>
                        </a:rPr>
                        <a:t> </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69883787"/>
                  </a:ext>
                </a:extLst>
              </a:tr>
            </a:tbl>
          </a:graphicData>
        </a:graphic>
      </p:graphicFrame>
    </p:spTree>
    <p:extLst>
      <p:ext uri="{BB962C8B-B14F-4D97-AF65-F5344CB8AC3E}">
        <p14:creationId xmlns:p14="http://schemas.microsoft.com/office/powerpoint/2010/main" val="42688154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57976" y="1123330"/>
            <a:ext cx="11160125" cy="276999"/>
          </a:xfrm>
        </p:spPr>
        <p:txBody>
          <a:bodyPr/>
          <a:lstStyle/>
          <a:p>
            <a:r>
              <a:rPr lang="en-GB" sz="1800">
                <a:solidFill>
                  <a:schemeClr val="accent3"/>
                </a:solidFill>
              </a:rPr>
              <a:t>Focussing on what matters</a:t>
            </a:r>
          </a:p>
        </p:txBody>
      </p:sp>
      <p:sp>
        <p:nvSpPr>
          <p:cNvPr id="5" name="TextBox 4">
            <a:extLst>
              <a:ext uri="{FF2B5EF4-FFF2-40B4-BE49-F238E27FC236}">
                <a16:creationId xmlns:a16="http://schemas.microsoft.com/office/drawing/2014/main" id="{8913F1B5-38DB-4D11-947D-FB0122605369}"/>
              </a:ext>
            </a:extLst>
          </p:cNvPr>
          <p:cNvSpPr txBox="1"/>
          <p:nvPr/>
        </p:nvSpPr>
        <p:spPr>
          <a:xfrm>
            <a:off x="2997964" y="2494050"/>
            <a:ext cx="6280150" cy="314603"/>
          </a:xfrm>
          <a:prstGeom prst="rect">
            <a:avLst/>
          </a:prstGeom>
          <a:solidFill>
            <a:schemeClr val="accent1"/>
          </a:solidFill>
        </p:spPr>
        <p:txBody>
          <a:bodyPr wrap="square" tIns="72000" bIns="72000" rtlCol="0">
            <a:spAutoFit/>
          </a:bodyPr>
          <a:lstStyle/>
          <a:p>
            <a:pPr algn="ctr"/>
            <a:r>
              <a:rPr lang="en-GB" sz="1100" b="1">
                <a:solidFill>
                  <a:schemeClr val="bg1"/>
                </a:solidFill>
              </a:rPr>
              <a:t>Oversight Objectives</a:t>
            </a:r>
          </a:p>
        </p:txBody>
      </p:sp>
      <p:sp>
        <p:nvSpPr>
          <p:cNvPr id="6" name="TextBox 5">
            <a:extLst>
              <a:ext uri="{FF2B5EF4-FFF2-40B4-BE49-F238E27FC236}">
                <a16:creationId xmlns:a16="http://schemas.microsoft.com/office/drawing/2014/main" id="{806EE2D2-2A7A-4BA6-B18E-7152430A8947}"/>
              </a:ext>
            </a:extLst>
          </p:cNvPr>
          <p:cNvSpPr txBox="1"/>
          <p:nvPr/>
        </p:nvSpPr>
        <p:spPr>
          <a:xfrm>
            <a:off x="3001674" y="2883506"/>
            <a:ext cx="2032500" cy="979914"/>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1.	Lloyd’s oversight supports the delivery of the Lloyd’s strategy</a:t>
            </a:r>
          </a:p>
        </p:txBody>
      </p:sp>
      <p:sp>
        <p:nvSpPr>
          <p:cNvPr id="7" name="TextBox 6">
            <a:extLst>
              <a:ext uri="{FF2B5EF4-FFF2-40B4-BE49-F238E27FC236}">
                <a16:creationId xmlns:a16="http://schemas.microsoft.com/office/drawing/2014/main" id="{C2353ED9-A646-4642-9AE4-752198FC207F}"/>
              </a:ext>
            </a:extLst>
          </p:cNvPr>
          <p:cNvSpPr txBox="1"/>
          <p:nvPr/>
        </p:nvSpPr>
        <p:spPr>
          <a:xfrm>
            <a:off x="5124175" y="2883258"/>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2.	Lloyd’s oversight is aligned with the Risk Appetite set by the Council</a:t>
            </a:r>
          </a:p>
        </p:txBody>
      </p:sp>
      <p:sp>
        <p:nvSpPr>
          <p:cNvPr id="8" name="TextBox 7">
            <a:extLst>
              <a:ext uri="{FF2B5EF4-FFF2-40B4-BE49-F238E27FC236}">
                <a16:creationId xmlns:a16="http://schemas.microsoft.com/office/drawing/2014/main" id="{87B29788-D35B-4293-9745-E5E1BE05322D}"/>
              </a:ext>
            </a:extLst>
          </p:cNvPr>
          <p:cNvSpPr txBox="1"/>
          <p:nvPr/>
        </p:nvSpPr>
        <p:spPr>
          <a:xfrm>
            <a:off x="7246675" y="2883258"/>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3.	Lloyd’s oversight instils confidence in regulators and rating agencies</a:t>
            </a:r>
          </a:p>
        </p:txBody>
      </p:sp>
      <p:sp>
        <p:nvSpPr>
          <p:cNvPr id="9" name="TextBox 8">
            <a:extLst>
              <a:ext uri="{FF2B5EF4-FFF2-40B4-BE49-F238E27FC236}">
                <a16:creationId xmlns:a16="http://schemas.microsoft.com/office/drawing/2014/main" id="{133E3ED6-399A-4168-9169-7543228A3097}"/>
              </a:ext>
            </a:extLst>
          </p:cNvPr>
          <p:cNvSpPr txBox="1"/>
          <p:nvPr/>
        </p:nvSpPr>
        <p:spPr>
          <a:xfrm>
            <a:off x="3001674" y="3953419"/>
            <a:ext cx="2032500" cy="979914"/>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4.	Lloyd’s oversight creates the conditions for good business to thrive</a:t>
            </a:r>
          </a:p>
        </p:txBody>
      </p:sp>
      <p:sp>
        <p:nvSpPr>
          <p:cNvPr id="10" name="TextBox 9">
            <a:extLst>
              <a:ext uri="{FF2B5EF4-FFF2-40B4-BE49-F238E27FC236}">
                <a16:creationId xmlns:a16="http://schemas.microsoft.com/office/drawing/2014/main" id="{066914A7-8140-49DD-AAC2-CCFFAA3712B5}"/>
              </a:ext>
            </a:extLst>
          </p:cNvPr>
          <p:cNvSpPr txBox="1"/>
          <p:nvPr/>
        </p:nvSpPr>
        <p:spPr>
          <a:xfrm>
            <a:off x="5124175" y="3953171"/>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5.	Lloyd’s oversight is decisive and impactful for substandard managing agents</a:t>
            </a:r>
          </a:p>
        </p:txBody>
      </p:sp>
      <p:sp>
        <p:nvSpPr>
          <p:cNvPr id="11" name="TextBox 10">
            <a:extLst>
              <a:ext uri="{FF2B5EF4-FFF2-40B4-BE49-F238E27FC236}">
                <a16:creationId xmlns:a16="http://schemas.microsoft.com/office/drawing/2014/main" id="{E7CD031C-7459-434F-A475-B6F026F53822}"/>
              </a:ext>
            </a:extLst>
          </p:cNvPr>
          <p:cNvSpPr txBox="1"/>
          <p:nvPr/>
        </p:nvSpPr>
        <p:spPr>
          <a:xfrm>
            <a:off x="7246675" y="3953171"/>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6.	Lloyd’s places primary responsibility for oversight on managing agents’ boards and management</a:t>
            </a:r>
          </a:p>
        </p:txBody>
      </p:sp>
      <p:sp>
        <p:nvSpPr>
          <p:cNvPr id="12" name="TextBox 11">
            <a:extLst>
              <a:ext uri="{FF2B5EF4-FFF2-40B4-BE49-F238E27FC236}">
                <a16:creationId xmlns:a16="http://schemas.microsoft.com/office/drawing/2014/main" id="{59AF6980-6E6A-425D-99E9-AB78353869FA}"/>
              </a:ext>
            </a:extLst>
          </p:cNvPr>
          <p:cNvSpPr txBox="1"/>
          <p:nvPr/>
        </p:nvSpPr>
        <p:spPr>
          <a:xfrm>
            <a:off x="3001674" y="5023332"/>
            <a:ext cx="2032500" cy="979914"/>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7.	Lloyd’s oversight is risk-based and proportionate</a:t>
            </a:r>
          </a:p>
        </p:txBody>
      </p:sp>
      <p:sp>
        <p:nvSpPr>
          <p:cNvPr id="13" name="TextBox 12">
            <a:extLst>
              <a:ext uri="{FF2B5EF4-FFF2-40B4-BE49-F238E27FC236}">
                <a16:creationId xmlns:a16="http://schemas.microsoft.com/office/drawing/2014/main" id="{6B19860C-09D2-42EA-99C6-F0268BEDBE24}"/>
              </a:ext>
            </a:extLst>
          </p:cNvPr>
          <p:cNvSpPr txBox="1"/>
          <p:nvPr/>
        </p:nvSpPr>
        <p:spPr>
          <a:xfrm>
            <a:off x="5124175" y="5023084"/>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8.	Lloyd’s oversight is holistic and joined up</a:t>
            </a:r>
          </a:p>
        </p:txBody>
      </p:sp>
      <p:sp>
        <p:nvSpPr>
          <p:cNvPr id="14" name="TextBox 13">
            <a:extLst>
              <a:ext uri="{FF2B5EF4-FFF2-40B4-BE49-F238E27FC236}">
                <a16:creationId xmlns:a16="http://schemas.microsoft.com/office/drawing/2014/main" id="{C2F7A92F-4CEF-4865-A127-553502423782}"/>
              </a:ext>
            </a:extLst>
          </p:cNvPr>
          <p:cNvSpPr txBox="1"/>
          <p:nvPr/>
        </p:nvSpPr>
        <p:spPr>
          <a:xfrm>
            <a:off x="7246675" y="5023084"/>
            <a:ext cx="2032500" cy="980162"/>
          </a:xfrm>
          <a:prstGeom prst="rect">
            <a:avLst/>
          </a:prstGeom>
          <a:solidFill>
            <a:schemeClr val="accent5"/>
          </a:solidFill>
        </p:spPr>
        <p:txBody>
          <a:bodyPr wrap="square" tIns="72000" bIns="72000" rtlCol="0" anchor="ctr" anchorCtr="0">
            <a:noAutofit/>
          </a:bodyPr>
          <a:lstStyle/>
          <a:p>
            <a:pPr marL="185738" indent="-185738"/>
            <a:r>
              <a:rPr lang="en-GB" sz="1100" b="1">
                <a:solidFill>
                  <a:schemeClr val="bg1"/>
                </a:solidFill>
              </a:rPr>
              <a:t>9.	Lloyd’s oversight is objective and data driven</a:t>
            </a:r>
          </a:p>
        </p:txBody>
      </p:sp>
      <p:sp>
        <p:nvSpPr>
          <p:cNvPr id="15" name="Rectangle 14">
            <a:extLst>
              <a:ext uri="{FF2B5EF4-FFF2-40B4-BE49-F238E27FC236}">
                <a16:creationId xmlns:a16="http://schemas.microsoft.com/office/drawing/2014/main" id="{14748968-743A-4D2C-B27F-6327F2C1EDC9}"/>
              </a:ext>
            </a:extLst>
          </p:cNvPr>
          <p:cNvSpPr/>
          <p:nvPr/>
        </p:nvSpPr>
        <p:spPr>
          <a:xfrm>
            <a:off x="498475" y="1468534"/>
            <a:ext cx="11368928" cy="923330"/>
          </a:xfrm>
          <a:prstGeom prst="rect">
            <a:avLst/>
          </a:prstGeom>
        </p:spPr>
        <p:txBody>
          <a:bodyPr wrap="square">
            <a:spAutoFit/>
          </a:bodyPr>
          <a:lstStyle/>
          <a:p>
            <a:r>
              <a:rPr lang="en-GB" b="1">
                <a:solidFill>
                  <a:schemeClr val="accent3"/>
                </a:solidFill>
              </a:rPr>
              <a:t>Providing the best run syndicates the space to grow, whilst ensuring appropriate and proportionate oversight across businesses performing poorly against Lloyd’s financial and non-financial expectations</a:t>
            </a:r>
          </a:p>
        </p:txBody>
      </p:sp>
    </p:spTree>
    <p:extLst>
      <p:ext uri="{BB962C8B-B14F-4D97-AF65-F5344CB8AC3E}">
        <p14:creationId xmlns:p14="http://schemas.microsoft.com/office/powerpoint/2010/main" val="12026213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5848350" cy="1454041"/>
          </a:xfrm>
        </p:spPr>
        <p:txBody>
          <a:bodyPr/>
          <a:lstStyle/>
          <a:p>
            <a:r>
              <a:rPr lang="en-GB"/>
              <a:t>Next steps</a:t>
            </a:r>
          </a:p>
          <a:p>
            <a:endParaRPr lang="en-GB"/>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a:lstStyle/>
          <a:p>
            <a:r>
              <a:rPr lang="en-GB"/>
              <a:t>Lyndsay Deeves</a:t>
            </a:r>
          </a:p>
        </p:txBody>
      </p:sp>
    </p:spTree>
    <p:extLst>
      <p:ext uri="{BB962C8B-B14F-4D97-AF65-F5344CB8AC3E}">
        <p14:creationId xmlns:p14="http://schemas.microsoft.com/office/powerpoint/2010/main" val="13215321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object 3"/>
          <p:cNvGrpSpPr/>
          <p:nvPr/>
        </p:nvGrpSpPr>
        <p:grpSpPr>
          <a:xfrm>
            <a:off x="546920" y="0"/>
            <a:ext cx="910160" cy="366030"/>
            <a:chOff x="592838" y="0"/>
            <a:chExt cx="999490" cy="401955"/>
          </a:xfrm>
        </p:grpSpPr>
        <p:sp>
          <p:nvSpPr>
            <p:cNvPr id="4" name="object 4"/>
            <p:cNvSpPr/>
            <p:nvPr/>
          </p:nvSpPr>
          <p:spPr>
            <a:xfrm>
              <a:off x="592838" y="0"/>
              <a:ext cx="999490" cy="401955"/>
            </a:xfrm>
            <a:custGeom>
              <a:avLst/>
              <a:gdLst/>
              <a:ahLst/>
              <a:cxnLst/>
              <a:rect l="l" t="t" r="r" b="b"/>
              <a:pathLst>
                <a:path w="999490" h="401955">
                  <a:moveTo>
                    <a:pt x="999173" y="0"/>
                  </a:moveTo>
                  <a:lnTo>
                    <a:pt x="0" y="0"/>
                  </a:lnTo>
                  <a:lnTo>
                    <a:pt x="0" y="401809"/>
                  </a:lnTo>
                  <a:lnTo>
                    <a:pt x="999173" y="401809"/>
                  </a:lnTo>
                  <a:lnTo>
                    <a:pt x="999173" y="0"/>
                  </a:lnTo>
                  <a:close/>
                </a:path>
              </a:pathLst>
            </a:custGeom>
            <a:solidFill>
              <a:srgbClr val="000000"/>
            </a:solidFill>
          </p:spPr>
          <p:txBody>
            <a:bodyPr wrap="square" lIns="0" tIns="0" rIns="0" bIns="0" rtlCol="0"/>
            <a:lstStyle/>
            <a:p>
              <a:endParaRPr sz="1639"/>
            </a:p>
          </p:txBody>
        </p:sp>
        <p:sp>
          <p:nvSpPr>
            <p:cNvPr id="5" name="object 5"/>
            <p:cNvSpPr/>
            <p:nvPr/>
          </p:nvSpPr>
          <p:spPr>
            <a:xfrm>
              <a:off x="712838" y="126694"/>
              <a:ext cx="753745" cy="143510"/>
            </a:xfrm>
            <a:custGeom>
              <a:avLst/>
              <a:gdLst/>
              <a:ahLst/>
              <a:cxnLst/>
              <a:rect l="l" t="t" r="r" b="b"/>
              <a:pathLst>
                <a:path w="753744" h="143510">
                  <a:moveTo>
                    <a:pt x="98336" y="111315"/>
                  </a:moveTo>
                  <a:lnTo>
                    <a:pt x="91465" y="111315"/>
                  </a:lnTo>
                  <a:lnTo>
                    <a:pt x="89865" y="118745"/>
                  </a:lnTo>
                  <a:lnTo>
                    <a:pt x="88290" y="122453"/>
                  </a:lnTo>
                  <a:lnTo>
                    <a:pt x="84582" y="126161"/>
                  </a:lnTo>
                  <a:lnTo>
                    <a:pt x="80352" y="129870"/>
                  </a:lnTo>
                  <a:lnTo>
                    <a:pt x="76657" y="130403"/>
                  </a:lnTo>
                  <a:lnTo>
                    <a:pt x="51282" y="130403"/>
                  </a:lnTo>
                  <a:lnTo>
                    <a:pt x="38125" y="105752"/>
                  </a:lnTo>
                  <a:lnTo>
                    <a:pt x="38150" y="40601"/>
                  </a:lnTo>
                  <a:lnTo>
                    <a:pt x="38328" y="29946"/>
                  </a:lnTo>
                  <a:lnTo>
                    <a:pt x="38506" y="24066"/>
                  </a:lnTo>
                  <a:lnTo>
                    <a:pt x="38595" y="7416"/>
                  </a:lnTo>
                  <a:lnTo>
                    <a:pt x="533" y="7416"/>
                  </a:lnTo>
                  <a:lnTo>
                    <a:pt x="533" y="12192"/>
                  </a:lnTo>
                  <a:lnTo>
                    <a:pt x="6870" y="12192"/>
                  </a:lnTo>
                  <a:lnTo>
                    <a:pt x="8458" y="12725"/>
                  </a:lnTo>
                  <a:lnTo>
                    <a:pt x="14274" y="13779"/>
                  </a:lnTo>
                  <a:lnTo>
                    <a:pt x="15328" y="16433"/>
                  </a:lnTo>
                  <a:lnTo>
                    <a:pt x="15862" y="22263"/>
                  </a:lnTo>
                  <a:lnTo>
                    <a:pt x="15798" y="111315"/>
                  </a:lnTo>
                  <a:lnTo>
                    <a:pt x="9512" y="134645"/>
                  </a:lnTo>
                  <a:lnTo>
                    <a:pt x="7937" y="135166"/>
                  </a:lnTo>
                  <a:lnTo>
                    <a:pt x="2641" y="135699"/>
                  </a:lnTo>
                  <a:lnTo>
                    <a:pt x="0" y="135699"/>
                  </a:lnTo>
                  <a:lnTo>
                    <a:pt x="0" y="141008"/>
                  </a:lnTo>
                  <a:lnTo>
                    <a:pt x="91465" y="141008"/>
                  </a:lnTo>
                  <a:lnTo>
                    <a:pt x="91986" y="140474"/>
                  </a:lnTo>
                  <a:lnTo>
                    <a:pt x="93052" y="136766"/>
                  </a:lnTo>
                  <a:lnTo>
                    <a:pt x="94576" y="130403"/>
                  </a:lnTo>
                  <a:lnTo>
                    <a:pt x="96278" y="122047"/>
                  </a:lnTo>
                  <a:lnTo>
                    <a:pt x="97726" y="114541"/>
                  </a:lnTo>
                  <a:lnTo>
                    <a:pt x="98336" y="111315"/>
                  </a:lnTo>
                  <a:close/>
                </a:path>
                <a:path w="753744" h="143510">
                  <a:moveTo>
                    <a:pt x="209346" y="111315"/>
                  </a:moveTo>
                  <a:lnTo>
                    <a:pt x="202476" y="111315"/>
                  </a:lnTo>
                  <a:lnTo>
                    <a:pt x="200367" y="118745"/>
                  </a:lnTo>
                  <a:lnTo>
                    <a:pt x="198780" y="122453"/>
                  </a:lnTo>
                  <a:lnTo>
                    <a:pt x="195605" y="126161"/>
                  </a:lnTo>
                  <a:lnTo>
                    <a:pt x="191376" y="129870"/>
                  </a:lnTo>
                  <a:lnTo>
                    <a:pt x="187680" y="130403"/>
                  </a:lnTo>
                  <a:lnTo>
                    <a:pt x="162293" y="130403"/>
                  </a:lnTo>
                  <a:lnTo>
                    <a:pt x="149136" y="105752"/>
                  </a:lnTo>
                  <a:lnTo>
                    <a:pt x="149161" y="40601"/>
                  </a:lnTo>
                  <a:lnTo>
                    <a:pt x="149352" y="29946"/>
                  </a:lnTo>
                  <a:lnTo>
                    <a:pt x="149529" y="24066"/>
                  </a:lnTo>
                  <a:lnTo>
                    <a:pt x="149618" y="7416"/>
                  </a:lnTo>
                  <a:lnTo>
                    <a:pt x="111023" y="7416"/>
                  </a:lnTo>
                  <a:lnTo>
                    <a:pt x="111023" y="12192"/>
                  </a:lnTo>
                  <a:lnTo>
                    <a:pt x="117894" y="12192"/>
                  </a:lnTo>
                  <a:lnTo>
                    <a:pt x="119481" y="12725"/>
                  </a:lnTo>
                  <a:lnTo>
                    <a:pt x="124764" y="13779"/>
                  </a:lnTo>
                  <a:lnTo>
                    <a:pt x="126352" y="16433"/>
                  </a:lnTo>
                  <a:lnTo>
                    <a:pt x="126479" y="24066"/>
                  </a:lnTo>
                  <a:lnTo>
                    <a:pt x="126657" y="26619"/>
                  </a:lnTo>
                  <a:lnTo>
                    <a:pt x="126746" y="29946"/>
                  </a:lnTo>
                  <a:lnTo>
                    <a:pt x="126860" y="102539"/>
                  </a:lnTo>
                  <a:lnTo>
                    <a:pt x="126746" y="112509"/>
                  </a:lnTo>
                  <a:lnTo>
                    <a:pt x="120535" y="134645"/>
                  </a:lnTo>
                  <a:lnTo>
                    <a:pt x="118948" y="135166"/>
                  </a:lnTo>
                  <a:lnTo>
                    <a:pt x="113131" y="135699"/>
                  </a:lnTo>
                  <a:lnTo>
                    <a:pt x="111023" y="135699"/>
                  </a:lnTo>
                  <a:lnTo>
                    <a:pt x="111023" y="141008"/>
                  </a:lnTo>
                  <a:lnTo>
                    <a:pt x="202476" y="141008"/>
                  </a:lnTo>
                  <a:lnTo>
                    <a:pt x="203009" y="140474"/>
                  </a:lnTo>
                  <a:lnTo>
                    <a:pt x="204063" y="136766"/>
                  </a:lnTo>
                  <a:lnTo>
                    <a:pt x="205371" y="130403"/>
                  </a:lnTo>
                  <a:lnTo>
                    <a:pt x="209346" y="111315"/>
                  </a:lnTo>
                  <a:close/>
                </a:path>
                <a:path w="753744" h="143510">
                  <a:moveTo>
                    <a:pt x="358432" y="71031"/>
                  </a:moveTo>
                  <a:lnTo>
                    <a:pt x="353885" y="44132"/>
                  </a:lnTo>
                  <a:lnTo>
                    <a:pt x="340652" y="23190"/>
                  </a:lnTo>
                  <a:lnTo>
                    <a:pt x="332524" y="17995"/>
                  </a:lnTo>
                  <a:lnTo>
                    <a:pt x="332524" y="76860"/>
                  </a:lnTo>
                  <a:lnTo>
                    <a:pt x="329907" y="100990"/>
                  </a:lnTo>
                  <a:lnTo>
                    <a:pt x="322287" y="118414"/>
                  </a:lnTo>
                  <a:lnTo>
                    <a:pt x="310007" y="128968"/>
                  </a:lnTo>
                  <a:lnTo>
                    <a:pt x="293408" y="132524"/>
                  </a:lnTo>
                  <a:lnTo>
                    <a:pt x="273646" y="127203"/>
                  </a:lnTo>
                  <a:lnTo>
                    <a:pt x="259041" y="113042"/>
                  </a:lnTo>
                  <a:lnTo>
                    <a:pt x="249986" y="92710"/>
                  </a:lnTo>
                  <a:lnTo>
                    <a:pt x="246888" y="68910"/>
                  </a:lnTo>
                  <a:lnTo>
                    <a:pt x="250240" y="43916"/>
                  </a:lnTo>
                  <a:lnTo>
                    <a:pt x="259105" y="27165"/>
                  </a:lnTo>
                  <a:lnTo>
                    <a:pt x="271640" y="17780"/>
                  </a:lnTo>
                  <a:lnTo>
                    <a:pt x="286004" y="14846"/>
                  </a:lnTo>
                  <a:lnTo>
                    <a:pt x="304647" y="19164"/>
                  </a:lnTo>
                  <a:lnTo>
                    <a:pt x="319379" y="31546"/>
                  </a:lnTo>
                  <a:lnTo>
                    <a:pt x="329044" y="51079"/>
                  </a:lnTo>
                  <a:lnTo>
                    <a:pt x="332524" y="76860"/>
                  </a:lnTo>
                  <a:lnTo>
                    <a:pt x="332524" y="17995"/>
                  </a:lnTo>
                  <a:lnTo>
                    <a:pt x="327596" y="14846"/>
                  </a:lnTo>
                  <a:lnTo>
                    <a:pt x="319405" y="9613"/>
                  </a:lnTo>
                  <a:lnTo>
                    <a:pt x="290766" y="4775"/>
                  </a:lnTo>
                  <a:lnTo>
                    <a:pt x="259511" y="10998"/>
                  </a:lnTo>
                  <a:lnTo>
                    <a:pt x="238163" y="27101"/>
                  </a:lnTo>
                  <a:lnTo>
                    <a:pt x="225945" y="49276"/>
                  </a:lnTo>
                  <a:lnTo>
                    <a:pt x="222046" y="73685"/>
                  </a:lnTo>
                  <a:lnTo>
                    <a:pt x="225767" y="98171"/>
                  </a:lnTo>
                  <a:lnTo>
                    <a:pt x="237566" y="120535"/>
                  </a:lnTo>
                  <a:lnTo>
                    <a:pt x="258394" y="136817"/>
                  </a:lnTo>
                  <a:lnTo>
                    <a:pt x="289179" y="143129"/>
                  </a:lnTo>
                  <a:lnTo>
                    <a:pt x="318058" y="137452"/>
                  </a:lnTo>
                  <a:lnTo>
                    <a:pt x="325018" y="132524"/>
                  </a:lnTo>
                  <a:lnTo>
                    <a:pt x="339864" y="121983"/>
                  </a:lnTo>
                  <a:lnTo>
                    <a:pt x="353631" y="99072"/>
                  </a:lnTo>
                  <a:lnTo>
                    <a:pt x="358432" y="71031"/>
                  </a:lnTo>
                  <a:close/>
                </a:path>
                <a:path w="753744" h="143510">
                  <a:moveTo>
                    <a:pt x="495363" y="7416"/>
                  </a:moveTo>
                  <a:lnTo>
                    <a:pt x="467868" y="7416"/>
                  </a:lnTo>
                  <a:lnTo>
                    <a:pt x="457898" y="26250"/>
                  </a:lnTo>
                  <a:lnTo>
                    <a:pt x="446786" y="47510"/>
                  </a:lnTo>
                  <a:lnTo>
                    <a:pt x="434035" y="72097"/>
                  </a:lnTo>
                  <a:lnTo>
                    <a:pt x="428777" y="62712"/>
                  </a:lnTo>
                  <a:lnTo>
                    <a:pt x="420090" y="46316"/>
                  </a:lnTo>
                  <a:lnTo>
                    <a:pt x="411505" y="29832"/>
                  </a:lnTo>
                  <a:lnTo>
                    <a:pt x="406539" y="20142"/>
                  </a:lnTo>
                  <a:lnTo>
                    <a:pt x="401789" y="9537"/>
                  </a:lnTo>
                  <a:lnTo>
                    <a:pt x="400723" y="7416"/>
                  </a:lnTo>
                  <a:lnTo>
                    <a:pt x="363728" y="7416"/>
                  </a:lnTo>
                  <a:lnTo>
                    <a:pt x="363728" y="12192"/>
                  </a:lnTo>
                  <a:lnTo>
                    <a:pt x="371208" y="13017"/>
                  </a:lnTo>
                  <a:lnTo>
                    <a:pt x="376872" y="15633"/>
                  </a:lnTo>
                  <a:lnTo>
                    <a:pt x="401916" y="54394"/>
                  </a:lnTo>
                  <a:lnTo>
                    <a:pt x="414997" y="78981"/>
                  </a:lnTo>
                  <a:lnTo>
                    <a:pt x="418706" y="85877"/>
                  </a:lnTo>
                  <a:lnTo>
                    <a:pt x="419227" y="85877"/>
                  </a:lnTo>
                  <a:lnTo>
                    <a:pt x="419227" y="118211"/>
                  </a:lnTo>
                  <a:lnTo>
                    <a:pt x="418706" y="125628"/>
                  </a:lnTo>
                  <a:lnTo>
                    <a:pt x="417639" y="133578"/>
                  </a:lnTo>
                  <a:lnTo>
                    <a:pt x="413943" y="134645"/>
                  </a:lnTo>
                  <a:lnTo>
                    <a:pt x="412356" y="135166"/>
                  </a:lnTo>
                  <a:lnTo>
                    <a:pt x="410768" y="135166"/>
                  </a:lnTo>
                  <a:lnTo>
                    <a:pt x="403898" y="135699"/>
                  </a:lnTo>
                  <a:lnTo>
                    <a:pt x="401789" y="135699"/>
                  </a:lnTo>
                  <a:lnTo>
                    <a:pt x="401789" y="141008"/>
                  </a:lnTo>
                  <a:lnTo>
                    <a:pt x="458876" y="141008"/>
                  </a:lnTo>
                  <a:lnTo>
                    <a:pt x="458876" y="135699"/>
                  </a:lnTo>
                  <a:lnTo>
                    <a:pt x="456768" y="135699"/>
                  </a:lnTo>
                  <a:lnTo>
                    <a:pt x="451472" y="135166"/>
                  </a:lnTo>
                  <a:lnTo>
                    <a:pt x="448830" y="135166"/>
                  </a:lnTo>
                  <a:lnTo>
                    <a:pt x="443547" y="134112"/>
                  </a:lnTo>
                  <a:lnTo>
                    <a:pt x="441960" y="130403"/>
                  </a:lnTo>
                  <a:lnTo>
                    <a:pt x="441960" y="125628"/>
                  </a:lnTo>
                  <a:lnTo>
                    <a:pt x="441426" y="118211"/>
                  </a:lnTo>
                  <a:lnTo>
                    <a:pt x="441426" y="84810"/>
                  </a:lnTo>
                  <a:lnTo>
                    <a:pt x="442493" y="84810"/>
                  </a:lnTo>
                  <a:lnTo>
                    <a:pt x="444080" y="80568"/>
                  </a:lnTo>
                  <a:lnTo>
                    <a:pt x="468388" y="33235"/>
                  </a:lnTo>
                  <a:lnTo>
                    <a:pt x="487959" y="12192"/>
                  </a:lnTo>
                  <a:lnTo>
                    <a:pt x="495363" y="12192"/>
                  </a:lnTo>
                  <a:lnTo>
                    <a:pt x="495363" y="7416"/>
                  </a:lnTo>
                  <a:close/>
                </a:path>
                <a:path w="753744" h="143510">
                  <a:moveTo>
                    <a:pt x="599719" y="135699"/>
                  </a:moveTo>
                  <a:lnTo>
                    <a:pt x="517029" y="135699"/>
                  </a:lnTo>
                  <a:lnTo>
                    <a:pt x="501180" y="135699"/>
                  </a:lnTo>
                  <a:lnTo>
                    <a:pt x="501180" y="141008"/>
                  </a:lnTo>
                  <a:lnTo>
                    <a:pt x="567258" y="141008"/>
                  </a:lnTo>
                  <a:lnTo>
                    <a:pt x="588200" y="139141"/>
                  </a:lnTo>
                  <a:lnTo>
                    <a:pt x="599719" y="135699"/>
                  </a:lnTo>
                  <a:close/>
                </a:path>
                <a:path w="753744" h="143510">
                  <a:moveTo>
                    <a:pt x="641261" y="71031"/>
                  </a:moveTo>
                  <a:lnTo>
                    <a:pt x="631012" y="34277"/>
                  </a:lnTo>
                  <a:lnTo>
                    <a:pt x="617474" y="21209"/>
                  </a:lnTo>
                  <a:lnTo>
                    <a:pt x="617474" y="75806"/>
                  </a:lnTo>
                  <a:lnTo>
                    <a:pt x="616813" y="88963"/>
                  </a:lnTo>
                  <a:lnTo>
                    <a:pt x="595172" y="126796"/>
                  </a:lnTo>
                  <a:lnTo>
                    <a:pt x="564616" y="133057"/>
                  </a:lnTo>
                  <a:lnTo>
                    <a:pt x="551395" y="133057"/>
                  </a:lnTo>
                  <a:lnTo>
                    <a:pt x="541337" y="113220"/>
                  </a:lnTo>
                  <a:lnTo>
                    <a:pt x="541045" y="109334"/>
                  </a:lnTo>
                  <a:lnTo>
                    <a:pt x="540893" y="102044"/>
                  </a:lnTo>
                  <a:lnTo>
                    <a:pt x="540829" y="19088"/>
                  </a:lnTo>
                  <a:lnTo>
                    <a:pt x="541350" y="18021"/>
                  </a:lnTo>
                  <a:lnTo>
                    <a:pt x="542937" y="16967"/>
                  </a:lnTo>
                  <a:lnTo>
                    <a:pt x="544525" y="16433"/>
                  </a:lnTo>
                  <a:lnTo>
                    <a:pt x="550862" y="15900"/>
                  </a:lnTo>
                  <a:lnTo>
                    <a:pt x="554037" y="15900"/>
                  </a:lnTo>
                  <a:lnTo>
                    <a:pt x="601624" y="32867"/>
                  </a:lnTo>
                  <a:lnTo>
                    <a:pt x="617474" y="75806"/>
                  </a:lnTo>
                  <a:lnTo>
                    <a:pt x="617474" y="21209"/>
                  </a:lnTo>
                  <a:lnTo>
                    <a:pt x="573354" y="7645"/>
                  </a:lnTo>
                  <a:lnTo>
                    <a:pt x="556158" y="7416"/>
                  </a:lnTo>
                  <a:lnTo>
                    <a:pt x="502234" y="7416"/>
                  </a:lnTo>
                  <a:lnTo>
                    <a:pt x="502234" y="12192"/>
                  </a:lnTo>
                  <a:lnTo>
                    <a:pt x="509625" y="12192"/>
                  </a:lnTo>
                  <a:lnTo>
                    <a:pt x="510692" y="12725"/>
                  </a:lnTo>
                  <a:lnTo>
                    <a:pt x="518490" y="112699"/>
                  </a:lnTo>
                  <a:lnTo>
                    <a:pt x="518414" y="117678"/>
                  </a:lnTo>
                  <a:lnTo>
                    <a:pt x="518083" y="126161"/>
                  </a:lnTo>
                  <a:lnTo>
                    <a:pt x="517080" y="135166"/>
                  </a:lnTo>
                  <a:lnTo>
                    <a:pt x="601497" y="135166"/>
                  </a:lnTo>
                  <a:lnTo>
                    <a:pt x="635584" y="101650"/>
                  </a:lnTo>
                  <a:lnTo>
                    <a:pt x="639711" y="87477"/>
                  </a:lnTo>
                  <a:lnTo>
                    <a:pt x="641261" y="71031"/>
                  </a:lnTo>
                  <a:close/>
                </a:path>
                <a:path w="753744" h="143510">
                  <a:moveTo>
                    <a:pt x="668235" y="4241"/>
                  </a:moveTo>
                  <a:lnTo>
                    <a:pt x="666648" y="3708"/>
                  </a:lnTo>
                  <a:lnTo>
                    <a:pt x="666648" y="3175"/>
                  </a:lnTo>
                  <a:lnTo>
                    <a:pt x="663473" y="2654"/>
                  </a:lnTo>
                  <a:lnTo>
                    <a:pt x="660831" y="1587"/>
                  </a:lnTo>
                  <a:lnTo>
                    <a:pt x="652894" y="0"/>
                  </a:lnTo>
                  <a:lnTo>
                    <a:pt x="648665" y="0"/>
                  </a:lnTo>
                  <a:lnTo>
                    <a:pt x="648144" y="1587"/>
                  </a:lnTo>
                  <a:lnTo>
                    <a:pt x="651281" y="6235"/>
                  </a:lnTo>
                  <a:lnTo>
                    <a:pt x="652640" y="14516"/>
                  </a:lnTo>
                  <a:lnTo>
                    <a:pt x="652005" y="23876"/>
                  </a:lnTo>
                  <a:lnTo>
                    <a:pt x="649198" y="31800"/>
                  </a:lnTo>
                  <a:lnTo>
                    <a:pt x="653427" y="36042"/>
                  </a:lnTo>
                  <a:lnTo>
                    <a:pt x="658266" y="31153"/>
                  </a:lnTo>
                  <a:lnTo>
                    <a:pt x="663206" y="23126"/>
                  </a:lnTo>
                  <a:lnTo>
                    <a:pt x="666965" y="13601"/>
                  </a:lnTo>
                  <a:lnTo>
                    <a:pt x="668235" y="4241"/>
                  </a:lnTo>
                  <a:close/>
                </a:path>
                <a:path w="753744" h="143510">
                  <a:moveTo>
                    <a:pt x="753351" y="104965"/>
                  </a:moveTo>
                  <a:lnTo>
                    <a:pt x="718451" y="58318"/>
                  </a:lnTo>
                  <a:lnTo>
                    <a:pt x="710133" y="51282"/>
                  </a:lnTo>
                  <a:lnTo>
                    <a:pt x="704176" y="44996"/>
                  </a:lnTo>
                  <a:lnTo>
                    <a:pt x="700608" y="39001"/>
                  </a:lnTo>
                  <a:lnTo>
                    <a:pt x="699427" y="32867"/>
                  </a:lnTo>
                  <a:lnTo>
                    <a:pt x="700557" y="26085"/>
                  </a:lnTo>
                  <a:lnTo>
                    <a:pt x="704176" y="19951"/>
                  </a:lnTo>
                  <a:lnTo>
                    <a:pt x="710577" y="15494"/>
                  </a:lnTo>
                  <a:lnTo>
                    <a:pt x="720039" y="13779"/>
                  </a:lnTo>
                  <a:lnTo>
                    <a:pt x="730897" y="15468"/>
                  </a:lnTo>
                  <a:lnTo>
                    <a:pt x="737552" y="20142"/>
                  </a:lnTo>
                  <a:lnTo>
                    <a:pt x="741527" y="27203"/>
                  </a:lnTo>
                  <a:lnTo>
                    <a:pt x="744359" y="36042"/>
                  </a:lnTo>
                  <a:lnTo>
                    <a:pt x="749122" y="36042"/>
                  </a:lnTo>
                  <a:lnTo>
                    <a:pt x="749287" y="26606"/>
                  </a:lnTo>
                  <a:lnTo>
                    <a:pt x="749642" y="18618"/>
                  </a:lnTo>
                  <a:lnTo>
                    <a:pt x="749947" y="13779"/>
                  </a:lnTo>
                  <a:lnTo>
                    <a:pt x="750176" y="9537"/>
                  </a:lnTo>
                  <a:lnTo>
                    <a:pt x="750176" y="8483"/>
                  </a:lnTo>
                  <a:lnTo>
                    <a:pt x="749122" y="7950"/>
                  </a:lnTo>
                  <a:lnTo>
                    <a:pt x="747534" y="7950"/>
                  </a:lnTo>
                  <a:lnTo>
                    <a:pt x="743191" y="7010"/>
                  </a:lnTo>
                  <a:lnTo>
                    <a:pt x="736955" y="5969"/>
                  </a:lnTo>
                  <a:lnTo>
                    <a:pt x="729538" y="5118"/>
                  </a:lnTo>
                  <a:lnTo>
                    <a:pt x="721626" y="4775"/>
                  </a:lnTo>
                  <a:lnTo>
                    <a:pt x="704253" y="7467"/>
                  </a:lnTo>
                  <a:lnTo>
                    <a:pt x="691299" y="14846"/>
                  </a:lnTo>
                  <a:lnTo>
                    <a:pt x="683183" y="25793"/>
                  </a:lnTo>
                  <a:lnTo>
                    <a:pt x="680389" y="39230"/>
                  </a:lnTo>
                  <a:lnTo>
                    <a:pt x="682523" y="51282"/>
                  </a:lnTo>
                  <a:lnTo>
                    <a:pt x="688390" y="61760"/>
                  </a:lnTo>
                  <a:lnTo>
                    <a:pt x="697115" y="71437"/>
                  </a:lnTo>
                  <a:lnTo>
                    <a:pt x="707872" y="81102"/>
                  </a:lnTo>
                  <a:lnTo>
                    <a:pt x="715276" y="87464"/>
                  </a:lnTo>
                  <a:lnTo>
                    <a:pt x="723303" y="94500"/>
                  </a:lnTo>
                  <a:lnTo>
                    <a:pt x="729094" y="100457"/>
                  </a:lnTo>
                  <a:lnTo>
                    <a:pt x="732599" y="106400"/>
                  </a:lnTo>
                  <a:lnTo>
                    <a:pt x="733780" y="113436"/>
                  </a:lnTo>
                  <a:lnTo>
                    <a:pt x="731939" y="122174"/>
                  </a:lnTo>
                  <a:lnTo>
                    <a:pt x="726973" y="128485"/>
                  </a:lnTo>
                  <a:lnTo>
                    <a:pt x="719734" y="132295"/>
                  </a:lnTo>
                  <a:lnTo>
                    <a:pt x="711060" y="133578"/>
                  </a:lnTo>
                  <a:lnTo>
                    <a:pt x="702703" y="132638"/>
                  </a:lnTo>
                  <a:lnTo>
                    <a:pt x="684085" y="107607"/>
                  </a:lnTo>
                  <a:lnTo>
                    <a:pt x="683564" y="104965"/>
                  </a:lnTo>
                  <a:lnTo>
                    <a:pt x="677748" y="104965"/>
                  </a:lnTo>
                  <a:lnTo>
                    <a:pt x="677583" y="109118"/>
                  </a:lnTo>
                  <a:lnTo>
                    <a:pt x="677214" y="116357"/>
                  </a:lnTo>
                  <a:lnTo>
                    <a:pt x="676884" y="124193"/>
                  </a:lnTo>
                  <a:lnTo>
                    <a:pt x="676770" y="128485"/>
                  </a:lnTo>
                  <a:lnTo>
                    <a:pt x="676694" y="136232"/>
                  </a:lnTo>
                  <a:lnTo>
                    <a:pt x="677214" y="137299"/>
                  </a:lnTo>
                  <a:lnTo>
                    <a:pt x="683590" y="139547"/>
                  </a:lnTo>
                  <a:lnTo>
                    <a:pt x="691756" y="141401"/>
                  </a:lnTo>
                  <a:lnTo>
                    <a:pt x="700709" y="142659"/>
                  </a:lnTo>
                  <a:lnTo>
                    <a:pt x="709460" y="143129"/>
                  </a:lnTo>
                  <a:lnTo>
                    <a:pt x="727913" y="140220"/>
                  </a:lnTo>
                  <a:lnTo>
                    <a:pt x="739317" y="133578"/>
                  </a:lnTo>
                  <a:lnTo>
                    <a:pt x="741718" y="132194"/>
                  </a:lnTo>
                  <a:lnTo>
                    <a:pt x="750354" y="120091"/>
                  </a:lnTo>
                  <a:lnTo>
                    <a:pt x="753351" y="104965"/>
                  </a:lnTo>
                  <a:close/>
                </a:path>
              </a:pathLst>
            </a:custGeom>
            <a:solidFill>
              <a:srgbClr val="FFFFFF"/>
            </a:solidFill>
          </p:spPr>
          <p:txBody>
            <a:bodyPr wrap="square" lIns="0" tIns="0" rIns="0" bIns="0" rtlCol="0"/>
            <a:lstStyle/>
            <a:p>
              <a:endParaRPr sz="1639"/>
            </a:p>
          </p:txBody>
        </p:sp>
      </p:grpSp>
      <p:sp>
        <p:nvSpPr>
          <p:cNvPr id="6" name="object 6"/>
          <p:cNvSpPr/>
          <p:nvPr/>
        </p:nvSpPr>
        <p:spPr>
          <a:xfrm>
            <a:off x="546918" y="539850"/>
            <a:ext cx="11104640" cy="0"/>
          </a:xfrm>
          <a:custGeom>
            <a:avLst/>
            <a:gdLst/>
            <a:ahLst/>
            <a:cxnLst/>
            <a:rect l="l" t="t" r="r" b="b"/>
            <a:pathLst>
              <a:path w="12194540">
                <a:moveTo>
                  <a:pt x="0" y="0"/>
                </a:moveTo>
                <a:lnTo>
                  <a:pt x="12194159" y="0"/>
                </a:lnTo>
              </a:path>
            </a:pathLst>
          </a:custGeom>
          <a:ln w="6096">
            <a:solidFill>
              <a:srgbClr val="000000"/>
            </a:solidFill>
          </a:ln>
        </p:spPr>
        <p:txBody>
          <a:bodyPr wrap="square" lIns="0" tIns="0" rIns="0" bIns="0" rtlCol="0"/>
          <a:lstStyle/>
          <a:p>
            <a:endParaRPr sz="1639"/>
          </a:p>
        </p:txBody>
      </p:sp>
      <p:sp>
        <p:nvSpPr>
          <p:cNvPr id="7" name="object 7"/>
          <p:cNvSpPr/>
          <p:nvPr/>
        </p:nvSpPr>
        <p:spPr>
          <a:xfrm>
            <a:off x="546918" y="1511303"/>
            <a:ext cx="11104640" cy="0"/>
          </a:xfrm>
          <a:custGeom>
            <a:avLst/>
            <a:gdLst/>
            <a:ahLst/>
            <a:cxnLst/>
            <a:rect l="l" t="t" r="r" b="b"/>
            <a:pathLst>
              <a:path w="12194540">
                <a:moveTo>
                  <a:pt x="0" y="0"/>
                </a:moveTo>
                <a:lnTo>
                  <a:pt x="12194159" y="0"/>
                </a:lnTo>
              </a:path>
            </a:pathLst>
          </a:custGeom>
          <a:ln w="6096">
            <a:solidFill>
              <a:srgbClr val="000000"/>
            </a:solidFill>
          </a:ln>
        </p:spPr>
        <p:txBody>
          <a:bodyPr wrap="square" lIns="0" tIns="0" rIns="0" bIns="0" rtlCol="0"/>
          <a:lstStyle/>
          <a:p>
            <a:endParaRPr sz="1639"/>
          </a:p>
        </p:txBody>
      </p:sp>
      <p:grpSp>
        <p:nvGrpSpPr>
          <p:cNvPr id="8" name="object 8"/>
          <p:cNvGrpSpPr/>
          <p:nvPr/>
        </p:nvGrpSpPr>
        <p:grpSpPr>
          <a:xfrm>
            <a:off x="10666" y="5090"/>
            <a:ext cx="12236080" cy="6852910"/>
            <a:chOff x="-1" y="0"/>
            <a:chExt cx="13437029" cy="7525510"/>
          </a:xfrm>
        </p:grpSpPr>
        <p:pic>
          <p:nvPicPr>
            <p:cNvPr id="9" name="object 9"/>
            <p:cNvPicPr/>
            <p:nvPr/>
          </p:nvPicPr>
          <p:blipFill>
            <a:blip r:embed="rId3" cstate="print"/>
            <a:stretch>
              <a:fillRect/>
            </a:stretch>
          </p:blipFill>
          <p:spPr>
            <a:xfrm>
              <a:off x="0" y="0"/>
              <a:ext cx="13377671" cy="7525510"/>
            </a:xfrm>
            <a:prstGeom prst="rect">
              <a:avLst/>
            </a:prstGeom>
          </p:spPr>
        </p:pic>
        <p:sp>
          <p:nvSpPr>
            <p:cNvPr id="10" name="object 10"/>
            <p:cNvSpPr/>
            <p:nvPr/>
          </p:nvSpPr>
          <p:spPr>
            <a:xfrm>
              <a:off x="-1" y="3334511"/>
              <a:ext cx="13437029" cy="1614170"/>
            </a:xfrm>
            <a:custGeom>
              <a:avLst/>
              <a:gdLst/>
              <a:ahLst/>
              <a:cxnLst/>
              <a:rect l="l" t="t" r="r" b="b"/>
              <a:pathLst>
                <a:path w="13378180" h="1614170">
                  <a:moveTo>
                    <a:pt x="0" y="0"/>
                  </a:moveTo>
                  <a:lnTo>
                    <a:pt x="0" y="1613916"/>
                  </a:lnTo>
                  <a:lnTo>
                    <a:pt x="13377671" y="1613916"/>
                  </a:lnTo>
                  <a:lnTo>
                    <a:pt x="13377671" y="0"/>
                  </a:lnTo>
                  <a:lnTo>
                    <a:pt x="0" y="0"/>
                  </a:lnTo>
                  <a:close/>
                </a:path>
              </a:pathLst>
            </a:custGeom>
            <a:solidFill>
              <a:srgbClr val="E1E4E4">
                <a:alpha val="56861"/>
              </a:srgbClr>
            </a:solidFill>
          </p:spPr>
          <p:txBody>
            <a:bodyPr wrap="square" lIns="0" tIns="0" rIns="0" bIns="0" rtlCol="0"/>
            <a:lstStyle/>
            <a:p>
              <a:endParaRPr sz="1639"/>
            </a:p>
          </p:txBody>
        </p:sp>
      </p:grpSp>
      <p:sp>
        <p:nvSpPr>
          <p:cNvPr id="11" name="object 11"/>
          <p:cNvSpPr txBox="1">
            <a:spLocks noGrp="1"/>
          </p:cNvSpPr>
          <p:nvPr>
            <p:ph type="title"/>
          </p:nvPr>
        </p:nvSpPr>
        <p:spPr>
          <a:xfrm>
            <a:off x="409619" y="642315"/>
            <a:ext cx="7203532" cy="460134"/>
          </a:xfrm>
          <a:prstGeom prst="rect">
            <a:avLst/>
          </a:prstGeom>
        </p:spPr>
        <p:txBody>
          <a:bodyPr vert="horz" wrap="square" lIns="0" tIns="11565" rIns="0" bIns="0" rtlCol="0" anchor="t">
            <a:spAutoFit/>
          </a:bodyPr>
          <a:lstStyle/>
          <a:p>
            <a:pPr marL="11565">
              <a:lnSpc>
                <a:spcPct val="100000"/>
              </a:lnSpc>
              <a:spcBef>
                <a:spcPts val="91"/>
              </a:spcBef>
            </a:pPr>
            <a:r>
              <a:rPr lang="en-GB" spc="64"/>
              <a:t>Next Steps and Timeline </a:t>
            </a:r>
            <a:endParaRPr spc="-241"/>
          </a:p>
        </p:txBody>
      </p:sp>
      <p:grpSp>
        <p:nvGrpSpPr>
          <p:cNvPr id="12" name="object 12"/>
          <p:cNvGrpSpPr/>
          <p:nvPr/>
        </p:nvGrpSpPr>
        <p:grpSpPr>
          <a:xfrm>
            <a:off x="1443430" y="3230776"/>
            <a:ext cx="928663" cy="922881"/>
            <a:chOff x="1577339" y="3547871"/>
            <a:chExt cx="1019810" cy="1013460"/>
          </a:xfrm>
        </p:grpSpPr>
        <p:sp>
          <p:nvSpPr>
            <p:cNvPr id="13" name="object 13"/>
            <p:cNvSpPr/>
            <p:nvPr/>
          </p:nvSpPr>
          <p:spPr>
            <a:xfrm>
              <a:off x="1577339" y="3547871"/>
              <a:ext cx="1019810" cy="1013460"/>
            </a:xfrm>
            <a:custGeom>
              <a:avLst/>
              <a:gdLst/>
              <a:ahLst/>
              <a:cxnLst/>
              <a:rect l="l" t="t" r="r" b="b"/>
              <a:pathLst>
                <a:path w="1019810" h="1013460">
                  <a:moveTo>
                    <a:pt x="509778" y="0"/>
                  </a:moveTo>
                  <a:lnTo>
                    <a:pt x="460680" y="2319"/>
                  </a:lnTo>
                  <a:lnTo>
                    <a:pt x="412903" y="9135"/>
                  </a:lnTo>
                  <a:lnTo>
                    <a:pt x="366661" y="20236"/>
                  </a:lnTo>
                  <a:lnTo>
                    <a:pt x="322167" y="35409"/>
                  </a:lnTo>
                  <a:lnTo>
                    <a:pt x="279635" y="54443"/>
                  </a:lnTo>
                  <a:lnTo>
                    <a:pt x="239278" y="77125"/>
                  </a:lnTo>
                  <a:lnTo>
                    <a:pt x="201310" y="103243"/>
                  </a:lnTo>
                  <a:lnTo>
                    <a:pt x="165944" y="132585"/>
                  </a:lnTo>
                  <a:lnTo>
                    <a:pt x="133394" y="164939"/>
                  </a:lnTo>
                  <a:lnTo>
                    <a:pt x="103874" y="200092"/>
                  </a:lnTo>
                  <a:lnTo>
                    <a:pt x="77597" y="237833"/>
                  </a:lnTo>
                  <a:lnTo>
                    <a:pt x="54776" y="277949"/>
                  </a:lnTo>
                  <a:lnTo>
                    <a:pt x="35626" y="320228"/>
                  </a:lnTo>
                  <a:lnTo>
                    <a:pt x="20360" y="364457"/>
                  </a:lnTo>
                  <a:lnTo>
                    <a:pt x="9191" y="410426"/>
                  </a:lnTo>
                  <a:lnTo>
                    <a:pt x="2333" y="457920"/>
                  </a:lnTo>
                  <a:lnTo>
                    <a:pt x="0" y="506729"/>
                  </a:lnTo>
                  <a:lnTo>
                    <a:pt x="2333" y="555539"/>
                  </a:lnTo>
                  <a:lnTo>
                    <a:pt x="9191" y="603033"/>
                  </a:lnTo>
                  <a:lnTo>
                    <a:pt x="20360" y="649002"/>
                  </a:lnTo>
                  <a:lnTo>
                    <a:pt x="35626" y="693231"/>
                  </a:lnTo>
                  <a:lnTo>
                    <a:pt x="54776" y="735510"/>
                  </a:lnTo>
                  <a:lnTo>
                    <a:pt x="77597" y="775626"/>
                  </a:lnTo>
                  <a:lnTo>
                    <a:pt x="103874" y="813367"/>
                  </a:lnTo>
                  <a:lnTo>
                    <a:pt x="133394" y="848520"/>
                  </a:lnTo>
                  <a:lnTo>
                    <a:pt x="165944" y="880874"/>
                  </a:lnTo>
                  <a:lnTo>
                    <a:pt x="201310" y="910216"/>
                  </a:lnTo>
                  <a:lnTo>
                    <a:pt x="239278" y="936334"/>
                  </a:lnTo>
                  <a:lnTo>
                    <a:pt x="279635" y="959016"/>
                  </a:lnTo>
                  <a:lnTo>
                    <a:pt x="322167" y="978050"/>
                  </a:lnTo>
                  <a:lnTo>
                    <a:pt x="366661" y="993223"/>
                  </a:lnTo>
                  <a:lnTo>
                    <a:pt x="412903" y="1004324"/>
                  </a:lnTo>
                  <a:lnTo>
                    <a:pt x="460680" y="1011140"/>
                  </a:lnTo>
                  <a:lnTo>
                    <a:pt x="509778" y="1013459"/>
                  </a:lnTo>
                  <a:lnTo>
                    <a:pt x="558875" y="1011140"/>
                  </a:lnTo>
                  <a:lnTo>
                    <a:pt x="606652" y="1004324"/>
                  </a:lnTo>
                  <a:lnTo>
                    <a:pt x="652894" y="993223"/>
                  </a:lnTo>
                  <a:lnTo>
                    <a:pt x="697388" y="978050"/>
                  </a:lnTo>
                  <a:lnTo>
                    <a:pt x="739920" y="959016"/>
                  </a:lnTo>
                  <a:lnTo>
                    <a:pt x="780277" y="936334"/>
                  </a:lnTo>
                  <a:lnTo>
                    <a:pt x="818245" y="910216"/>
                  </a:lnTo>
                  <a:lnTo>
                    <a:pt x="853611" y="880874"/>
                  </a:lnTo>
                  <a:lnTo>
                    <a:pt x="886161" y="848520"/>
                  </a:lnTo>
                  <a:lnTo>
                    <a:pt x="915681" y="813367"/>
                  </a:lnTo>
                  <a:lnTo>
                    <a:pt x="941958" y="775626"/>
                  </a:lnTo>
                  <a:lnTo>
                    <a:pt x="964779" y="735510"/>
                  </a:lnTo>
                  <a:lnTo>
                    <a:pt x="983929" y="693231"/>
                  </a:lnTo>
                  <a:lnTo>
                    <a:pt x="999195" y="649002"/>
                  </a:lnTo>
                  <a:lnTo>
                    <a:pt x="1010364" y="603033"/>
                  </a:lnTo>
                  <a:lnTo>
                    <a:pt x="1017222" y="555539"/>
                  </a:lnTo>
                  <a:lnTo>
                    <a:pt x="1019555" y="506729"/>
                  </a:lnTo>
                  <a:lnTo>
                    <a:pt x="1017222" y="457920"/>
                  </a:lnTo>
                  <a:lnTo>
                    <a:pt x="1010364" y="410426"/>
                  </a:lnTo>
                  <a:lnTo>
                    <a:pt x="999195" y="364457"/>
                  </a:lnTo>
                  <a:lnTo>
                    <a:pt x="983929" y="320228"/>
                  </a:lnTo>
                  <a:lnTo>
                    <a:pt x="964779" y="277949"/>
                  </a:lnTo>
                  <a:lnTo>
                    <a:pt x="941958" y="237833"/>
                  </a:lnTo>
                  <a:lnTo>
                    <a:pt x="915681" y="200092"/>
                  </a:lnTo>
                  <a:lnTo>
                    <a:pt x="886161" y="164939"/>
                  </a:lnTo>
                  <a:lnTo>
                    <a:pt x="853611" y="132585"/>
                  </a:lnTo>
                  <a:lnTo>
                    <a:pt x="818245" y="103243"/>
                  </a:lnTo>
                  <a:lnTo>
                    <a:pt x="780277" y="77125"/>
                  </a:lnTo>
                  <a:lnTo>
                    <a:pt x="739920" y="54443"/>
                  </a:lnTo>
                  <a:lnTo>
                    <a:pt x="697388" y="35409"/>
                  </a:lnTo>
                  <a:lnTo>
                    <a:pt x="652894" y="20236"/>
                  </a:lnTo>
                  <a:lnTo>
                    <a:pt x="606652" y="9135"/>
                  </a:lnTo>
                  <a:lnTo>
                    <a:pt x="558875" y="2319"/>
                  </a:lnTo>
                  <a:lnTo>
                    <a:pt x="509778" y="0"/>
                  </a:lnTo>
                  <a:close/>
                </a:path>
              </a:pathLst>
            </a:custGeom>
            <a:solidFill>
              <a:srgbClr val="1E35BE"/>
            </a:solidFill>
          </p:spPr>
          <p:txBody>
            <a:bodyPr wrap="square" lIns="0" tIns="0" rIns="0" bIns="0" rtlCol="0"/>
            <a:lstStyle/>
            <a:p>
              <a:endParaRPr sz="1639"/>
            </a:p>
          </p:txBody>
        </p:sp>
        <p:sp>
          <p:nvSpPr>
            <p:cNvPr id="14" name="object 14"/>
            <p:cNvSpPr/>
            <p:nvPr/>
          </p:nvSpPr>
          <p:spPr>
            <a:xfrm>
              <a:off x="1668779" y="3645407"/>
              <a:ext cx="835660" cy="815340"/>
            </a:xfrm>
            <a:custGeom>
              <a:avLst/>
              <a:gdLst/>
              <a:ahLst/>
              <a:cxnLst/>
              <a:rect l="l" t="t" r="r" b="b"/>
              <a:pathLst>
                <a:path w="835660" h="815339">
                  <a:moveTo>
                    <a:pt x="417575" y="0"/>
                  </a:moveTo>
                  <a:lnTo>
                    <a:pt x="368875" y="2742"/>
                  </a:lnTo>
                  <a:lnTo>
                    <a:pt x="321826" y="10765"/>
                  </a:lnTo>
                  <a:lnTo>
                    <a:pt x="276740" y="23764"/>
                  </a:lnTo>
                  <a:lnTo>
                    <a:pt x="233931" y="41432"/>
                  </a:lnTo>
                  <a:lnTo>
                    <a:pt x="193713" y="63464"/>
                  </a:lnTo>
                  <a:lnTo>
                    <a:pt x="156398" y="89553"/>
                  </a:lnTo>
                  <a:lnTo>
                    <a:pt x="122300" y="119395"/>
                  </a:lnTo>
                  <a:lnTo>
                    <a:pt x="91733" y="152684"/>
                  </a:lnTo>
                  <a:lnTo>
                    <a:pt x="65008" y="189113"/>
                  </a:lnTo>
                  <a:lnTo>
                    <a:pt x="42440" y="228377"/>
                  </a:lnTo>
                  <a:lnTo>
                    <a:pt x="24342" y="270171"/>
                  </a:lnTo>
                  <a:lnTo>
                    <a:pt x="11027" y="314188"/>
                  </a:lnTo>
                  <a:lnTo>
                    <a:pt x="2809" y="360123"/>
                  </a:lnTo>
                  <a:lnTo>
                    <a:pt x="0" y="407669"/>
                  </a:lnTo>
                  <a:lnTo>
                    <a:pt x="2809" y="455216"/>
                  </a:lnTo>
                  <a:lnTo>
                    <a:pt x="11027" y="501151"/>
                  </a:lnTo>
                  <a:lnTo>
                    <a:pt x="24342" y="545168"/>
                  </a:lnTo>
                  <a:lnTo>
                    <a:pt x="42440" y="586962"/>
                  </a:lnTo>
                  <a:lnTo>
                    <a:pt x="65008" y="626226"/>
                  </a:lnTo>
                  <a:lnTo>
                    <a:pt x="91733" y="662655"/>
                  </a:lnTo>
                  <a:lnTo>
                    <a:pt x="122301" y="695944"/>
                  </a:lnTo>
                  <a:lnTo>
                    <a:pt x="156398" y="725786"/>
                  </a:lnTo>
                  <a:lnTo>
                    <a:pt x="193713" y="751875"/>
                  </a:lnTo>
                  <a:lnTo>
                    <a:pt x="233931" y="773907"/>
                  </a:lnTo>
                  <a:lnTo>
                    <a:pt x="276740" y="791575"/>
                  </a:lnTo>
                  <a:lnTo>
                    <a:pt x="321826" y="804574"/>
                  </a:lnTo>
                  <a:lnTo>
                    <a:pt x="368875" y="812597"/>
                  </a:lnTo>
                  <a:lnTo>
                    <a:pt x="417575" y="815339"/>
                  </a:lnTo>
                  <a:lnTo>
                    <a:pt x="466276" y="812597"/>
                  </a:lnTo>
                  <a:lnTo>
                    <a:pt x="513325" y="804574"/>
                  </a:lnTo>
                  <a:lnTo>
                    <a:pt x="558411" y="791575"/>
                  </a:lnTo>
                  <a:lnTo>
                    <a:pt x="601220" y="773907"/>
                  </a:lnTo>
                  <a:lnTo>
                    <a:pt x="641438" y="751875"/>
                  </a:lnTo>
                  <a:lnTo>
                    <a:pt x="678753" y="725786"/>
                  </a:lnTo>
                  <a:lnTo>
                    <a:pt x="712851" y="695944"/>
                  </a:lnTo>
                  <a:lnTo>
                    <a:pt x="743418" y="662655"/>
                  </a:lnTo>
                  <a:lnTo>
                    <a:pt x="770143" y="626226"/>
                  </a:lnTo>
                  <a:lnTo>
                    <a:pt x="792711" y="586962"/>
                  </a:lnTo>
                  <a:lnTo>
                    <a:pt x="810809" y="545168"/>
                  </a:lnTo>
                  <a:lnTo>
                    <a:pt x="824124" y="501151"/>
                  </a:lnTo>
                  <a:lnTo>
                    <a:pt x="832342" y="455216"/>
                  </a:lnTo>
                  <a:lnTo>
                    <a:pt x="835151" y="407669"/>
                  </a:lnTo>
                  <a:lnTo>
                    <a:pt x="832342" y="360123"/>
                  </a:lnTo>
                  <a:lnTo>
                    <a:pt x="824124" y="314188"/>
                  </a:lnTo>
                  <a:lnTo>
                    <a:pt x="810809" y="270171"/>
                  </a:lnTo>
                  <a:lnTo>
                    <a:pt x="792711" y="228377"/>
                  </a:lnTo>
                  <a:lnTo>
                    <a:pt x="770143" y="189113"/>
                  </a:lnTo>
                  <a:lnTo>
                    <a:pt x="743418" y="152684"/>
                  </a:lnTo>
                  <a:lnTo>
                    <a:pt x="712850" y="119395"/>
                  </a:lnTo>
                  <a:lnTo>
                    <a:pt x="678753" y="89553"/>
                  </a:lnTo>
                  <a:lnTo>
                    <a:pt x="641438" y="63464"/>
                  </a:lnTo>
                  <a:lnTo>
                    <a:pt x="601220" y="41432"/>
                  </a:lnTo>
                  <a:lnTo>
                    <a:pt x="558411" y="23764"/>
                  </a:lnTo>
                  <a:lnTo>
                    <a:pt x="513325" y="10765"/>
                  </a:lnTo>
                  <a:lnTo>
                    <a:pt x="466276" y="2742"/>
                  </a:lnTo>
                  <a:lnTo>
                    <a:pt x="417575" y="0"/>
                  </a:lnTo>
                  <a:close/>
                </a:path>
              </a:pathLst>
            </a:custGeom>
            <a:solidFill>
              <a:srgbClr val="FFFFFF"/>
            </a:solidFill>
          </p:spPr>
          <p:txBody>
            <a:bodyPr wrap="square" lIns="0" tIns="0" rIns="0" bIns="0" rtlCol="0"/>
            <a:lstStyle/>
            <a:p>
              <a:endParaRPr sz="1639"/>
            </a:p>
          </p:txBody>
        </p:sp>
      </p:grpSp>
      <p:sp>
        <p:nvSpPr>
          <p:cNvPr id="15" name="object 15"/>
          <p:cNvSpPr txBox="1"/>
          <p:nvPr/>
        </p:nvSpPr>
        <p:spPr>
          <a:xfrm>
            <a:off x="1659141" y="3530343"/>
            <a:ext cx="483911" cy="292466"/>
          </a:xfrm>
          <a:prstGeom prst="rect">
            <a:avLst/>
          </a:prstGeom>
        </p:spPr>
        <p:txBody>
          <a:bodyPr vert="horz" wrap="square" lIns="0" tIns="12143" rIns="0" bIns="0" rtlCol="0">
            <a:spAutoFit/>
          </a:bodyPr>
          <a:lstStyle/>
          <a:p>
            <a:pPr marL="11565">
              <a:spcBef>
                <a:spcPts val="96"/>
              </a:spcBef>
            </a:pPr>
            <a:r>
              <a:rPr lang="en-GB" sz="1821" b="1" spc="14">
                <a:latin typeface="Century Gothic"/>
                <a:cs typeface="Century Gothic"/>
              </a:rPr>
              <a:t>Jan</a:t>
            </a:r>
            <a:endParaRPr sz="1821">
              <a:latin typeface="Century Gothic"/>
              <a:cs typeface="Century Gothic"/>
            </a:endParaRPr>
          </a:p>
        </p:txBody>
      </p:sp>
      <p:sp>
        <p:nvSpPr>
          <p:cNvPr id="17" name="object 17"/>
          <p:cNvSpPr/>
          <p:nvPr/>
        </p:nvSpPr>
        <p:spPr>
          <a:xfrm>
            <a:off x="1338178" y="3111864"/>
            <a:ext cx="1151866" cy="1173840"/>
          </a:xfrm>
          <a:custGeom>
            <a:avLst/>
            <a:gdLst/>
            <a:ahLst/>
            <a:cxnLst/>
            <a:rect l="l" t="t" r="r" b="b"/>
            <a:pathLst>
              <a:path w="1264920" h="1289050">
                <a:moveTo>
                  <a:pt x="618257" y="0"/>
                </a:moveTo>
                <a:lnTo>
                  <a:pt x="573225" y="2531"/>
                </a:lnTo>
                <a:lnTo>
                  <a:pt x="528121" y="8417"/>
                </a:lnTo>
                <a:lnTo>
                  <a:pt x="483103" y="17726"/>
                </a:lnTo>
                <a:lnTo>
                  <a:pt x="438332" y="30528"/>
                </a:lnTo>
                <a:lnTo>
                  <a:pt x="393967" y="46891"/>
                </a:lnTo>
                <a:lnTo>
                  <a:pt x="350909" y="66515"/>
                </a:lnTo>
                <a:lnTo>
                  <a:pt x="310000" y="88981"/>
                </a:lnTo>
                <a:lnTo>
                  <a:pt x="271307" y="114127"/>
                </a:lnTo>
                <a:lnTo>
                  <a:pt x="234898" y="141791"/>
                </a:lnTo>
                <a:lnTo>
                  <a:pt x="200839" y="171810"/>
                </a:lnTo>
                <a:lnTo>
                  <a:pt x="169198" y="204023"/>
                </a:lnTo>
                <a:lnTo>
                  <a:pt x="140043" y="238267"/>
                </a:lnTo>
                <a:lnTo>
                  <a:pt x="113440" y="274380"/>
                </a:lnTo>
                <a:lnTo>
                  <a:pt x="89458" y="312200"/>
                </a:lnTo>
                <a:lnTo>
                  <a:pt x="68162" y="351566"/>
                </a:lnTo>
                <a:lnTo>
                  <a:pt x="49622" y="392315"/>
                </a:lnTo>
                <a:lnTo>
                  <a:pt x="33903" y="434284"/>
                </a:lnTo>
                <a:lnTo>
                  <a:pt x="21074" y="477313"/>
                </a:lnTo>
                <a:lnTo>
                  <a:pt x="11202" y="521238"/>
                </a:lnTo>
                <a:lnTo>
                  <a:pt x="4354" y="565898"/>
                </a:lnTo>
                <a:lnTo>
                  <a:pt x="597" y="611130"/>
                </a:lnTo>
                <a:lnTo>
                  <a:pt x="0" y="656773"/>
                </a:lnTo>
                <a:lnTo>
                  <a:pt x="2628" y="702664"/>
                </a:lnTo>
                <a:lnTo>
                  <a:pt x="8549" y="748642"/>
                </a:lnTo>
                <a:lnTo>
                  <a:pt x="17832" y="794544"/>
                </a:lnTo>
                <a:lnTo>
                  <a:pt x="30542" y="840208"/>
                </a:lnTo>
                <a:lnTo>
                  <a:pt x="46749" y="885472"/>
                </a:lnTo>
                <a:lnTo>
                  <a:pt x="66152" y="929397"/>
                </a:lnTo>
                <a:lnTo>
                  <a:pt x="88339" y="971142"/>
                </a:lnTo>
                <a:lnTo>
                  <a:pt x="113149" y="1010638"/>
                </a:lnTo>
                <a:lnTo>
                  <a:pt x="140424" y="1047816"/>
                </a:lnTo>
                <a:lnTo>
                  <a:pt x="170003" y="1082607"/>
                </a:lnTo>
                <a:lnTo>
                  <a:pt x="201728" y="1114941"/>
                </a:lnTo>
                <a:lnTo>
                  <a:pt x="235438" y="1144751"/>
                </a:lnTo>
                <a:lnTo>
                  <a:pt x="270975" y="1171966"/>
                </a:lnTo>
                <a:lnTo>
                  <a:pt x="308179" y="1196518"/>
                </a:lnTo>
                <a:lnTo>
                  <a:pt x="346890" y="1218338"/>
                </a:lnTo>
                <a:lnTo>
                  <a:pt x="386950" y="1237357"/>
                </a:lnTo>
                <a:lnTo>
                  <a:pt x="428198" y="1253506"/>
                </a:lnTo>
                <a:lnTo>
                  <a:pt x="470475" y="1266715"/>
                </a:lnTo>
                <a:lnTo>
                  <a:pt x="513622" y="1276917"/>
                </a:lnTo>
                <a:lnTo>
                  <a:pt x="557480" y="1284041"/>
                </a:lnTo>
                <a:lnTo>
                  <a:pt x="601888" y="1288020"/>
                </a:lnTo>
                <a:lnTo>
                  <a:pt x="646688" y="1288783"/>
                </a:lnTo>
                <a:lnTo>
                  <a:pt x="691720" y="1286263"/>
                </a:lnTo>
                <a:lnTo>
                  <a:pt x="736824" y="1280389"/>
                </a:lnTo>
                <a:lnTo>
                  <a:pt x="781842" y="1271094"/>
                </a:lnTo>
                <a:lnTo>
                  <a:pt x="826613" y="1258307"/>
                </a:lnTo>
                <a:lnTo>
                  <a:pt x="870979" y="1241961"/>
                </a:lnTo>
                <a:lnTo>
                  <a:pt x="848246" y="1185065"/>
                </a:lnTo>
                <a:lnTo>
                  <a:pt x="801970" y="1201866"/>
                </a:lnTo>
                <a:lnTo>
                  <a:pt x="754551" y="1214513"/>
                </a:lnTo>
                <a:lnTo>
                  <a:pt x="706228" y="1222944"/>
                </a:lnTo>
                <a:lnTo>
                  <a:pt x="657238" y="1227102"/>
                </a:lnTo>
                <a:lnTo>
                  <a:pt x="610346" y="1227075"/>
                </a:lnTo>
                <a:lnTo>
                  <a:pt x="564337" y="1223243"/>
                </a:lnTo>
                <a:lnTo>
                  <a:pt x="519364" y="1215751"/>
                </a:lnTo>
                <a:lnTo>
                  <a:pt x="475580" y="1204740"/>
                </a:lnTo>
                <a:lnTo>
                  <a:pt x="433138" y="1190357"/>
                </a:lnTo>
                <a:lnTo>
                  <a:pt x="392192" y="1172744"/>
                </a:lnTo>
                <a:lnTo>
                  <a:pt x="352894" y="1152045"/>
                </a:lnTo>
                <a:lnTo>
                  <a:pt x="315398" y="1128405"/>
                </a:lnTo>
                <a:lnTo>
                  <a:pt x="279857" y="1101967"/>
                </a:lnTo>
                <a:lnTo>
                  <a:pt x="246424" y="1072876"/>
                </a:lnTo>
                <a:lnTo>
                  <a:pt x="215253" y="1041275"/>
                </a:lnTo>
                <a:lnTo>
                  <a:pt x="186495" y="1007307"/>
                </a:lnTo>
                <a:lnTo>
                  <a:pt x="160305" y="971118"/>
                </a:lnTo>
                <a:lnTo>
                  <a:pt x="136836" y="932851"/>
                </a:lnTo>
                <a:lnTo>
                  <a:pt x="116241" y="892649"/>
                </a:lnTo>
                <a:lnTo>
                  <a:pt x="98673" y="850657"/>
                </a:lnTo>
                <a:lnTo>
                  <a:pt x="84285" y="807019"/>
                </a:lnTo>
                <a:lnTo>
                  <a:pt x="73231" y="761879"/>
                </a:lnTo>
                <a:lnTo>
                  <a:pt x="65663" y="715380"/>
                </a:lnTo>
                <a:lnTo>
                  <a:pt x="61735" y="667667"/>
                </a:lnTo>
                <a:lnTo>
                  <a:pt x="61590" y="619798"/>
                </a:lnTo>
                <a:lnTo>
                  <a:pt x="65178" y="572842"/>
                </a:lnTo>
                <a:lnTo>
                  <a:pt x="72358" y="526954"/>
                </a:lnTo>
                <a:lnTo>
                  <a:pt x="82988" y="482291"/>
                </a:lnTo>
                <a:lnTo>
                  <a:pt x="96929" y="439009"/>
                </a:lnTo>
                <a:lnTo>
                  <a:pt x="114040" y="397264"/>
                </a:lnTo>
                <a:lnTo>
                  <a:pt x="134181" y="357211"/>
                </a:lnTo>
                <a:lnTo>
                  <a:pt x="157210" y="319008"/>
                </a:lnTo>
                <a:lnTo>
                  <a:pt x="182987" y="282810"/>
                </a:lnTo>
                <a:lnTo>
                  <a:pt x="211372" y="248773"/>
                </a:lnTo>
                <a:lnTo>
                  <a:pt x="242224" y="217054"/>
                </a:lnTo>
                <a:lnTo>
                  <a:pt x="275402" y="187808"/>
                </a:lnTo>
                <a:lnTo>
                  <a:pt x="310766" y="161192"/>
                </a:lnTo>
                <a:lnTo>
                  <a:pt x="348176" y="137361"/>
                </a:lnTo>
                <a:lnTo>
                  <a:pt x="387490" y="116473"/>
                </a:lnTo>
                <a:lnTo>
                  <a:pt x="428567" y="98682"/>
                </a:lnTo>
                <a:lnTo>
                  <a:pt x="471269" y="84146"/>
                </a:lnTo>
                <a:lnTo>
                  <a:pt x="515453" y="73020"/>
                </a:lnTo>
                <a:lnTo>
                  <a:pt x="560979" y="65460"/>
                </a:lnTo>
                <a:lnTo>
                  <a:pt x="607708" y="61623"/>
                </a:lnTo>
                <a:lnTo>
                  <a:pt x="654599" y="61650"/>
                </a:lnTo>
                <a:lnTo>
                  <a:pt x="700608" y="65484"/>
                </a:lnTo>
                <a:lnTo>
                  <a:pt x="745581" y="72981"/>
                </a:lnTo>
                <a:lnTo>
                  <a:pt x="789365" y="83997"/>
                </a:lnTo>
                <a:lnTo>
                  <a:pt x="831807" y="98387"/>
                </a:lnTo>
                <a:lnTo>
                  <a:pt x="872753" y="116008"/>
                </a:lnTo>
                <a:lnTo>
                  <a:pt x="912051" y="136715"/>
                </a:lnTo>
                <a:lnTo>
                  <a:pt x="949547" y="160364"/>
                </a:lnTo>
                <a:lnTo>
                  <a:pt x="985088" y="186811"/>
                </a:lnTo>
                <a:lnTo>
                  <a:pt x="1018521" y="215912"/>
                </a:lnTo>
                <a:lnTo>
                  <a:pt x="1049692" y="247523"/>
                </a:lnTo>
                <a:lnTo>
                  <a:pt x="1078450" y="281499"/>
                </a:lnTo>
                <a:lnTo>
                  <a:pt x="1104640" y="317697"/>
                </a:lnTo>
                <a:lnTo>
                  <a:pt x="1128109" y="355973"/>
                </a:lnTo>
                <a:lnTo>
                  <a:pt x="1148704" y="396182"/>
                </a:lnTo>
                <a:lnTo>
                  <a:pt x="1166272" y="438181"/>
                </a:lnTo>
                <a:lnTo>
                  <a:pt x="1180660" y="481824"/>
                </a:lnTo>
                <a:lnTo>
                  <a:pt x="1191714" y="526969"/>
                </a:lnTo>
                <a:lnTo>
                  <a:pt x="1199282" y="573470"/>
                </a:lnTo>
                <a:lnTo>
                  <a:pt x="1203211" y="621185"/>
                </a:lnTo>
                <a:lnTo>
                  <a:pt x="1264298" y="618645"/>
                </a:lnTo>
                <a:lnTo>
                  <a:pt x="1259595" y="563451"/>
                </a:lnTo>
                <a:lnTo>
                  <a:pt x="1250296" y="508948"/>
                </a:lnTo>
                <a:lnTo>
                  <a:pt x="1236473" y="455446"/>
                </a:lnTo>
                <a:lnTo>
                  <a:pt x="1218197" y="403253"/>
                </a:lnTo>
                <a:lnTo>
                  <a:pt x="1198793" y="359327"/>
                </a:lnTo>
                <a:lnTo>
                  <a:pt x="1176606" y="317582"/>
                </a:lnTo>
                <a:lnTo>
                  <a:pt x="1151796" y="278086"/>
                </a:lnTo>
                <a:lnTo>
                  <a:pt x="1124521" y="240909"/>
                </a:lnTo>
                <a:lnTo>
                  <a:pt x="1094942" y="206119"/>
                </a:lnTo>
                <a:lnTo>
                  <a:pt x="1063217" y="173785"/>
                </a:lnTo>
                <a:lnTo>
                  <a:pt x="1029507" y="143977"/>
                </a:lnTo>
                <a:lnTo>
                  <a:pt x="993970" y="116764"/>
                </a:lnTo>
                <a:lnTo>
                  <a:pt x="956766" y="92215"/>
                </a:lnTo>
                <a:lnTo>
                  <a:pt x="918055" y="70398"/>
                </a:lnTo>
                <a:lnTo>
                  <a:pt x="877995" y="51383"/>
                </a:lnTo>
                <a:lnTo>
                  <a:pt x="836747" y="35239"/>
                </a:lnTo>
                <a:lnTo>
                  <a:pt x="794470" y="22035"/>
                </a:lnTo>
                <a:lnTo>
                  <a:pt x="751323" y="11840"/>
                </a:lnTo>
                <a:lnTo>
                  <a:pt x="707465" y="4723"/>
                </a:lnTo>
                <a:lnTo>
                  <a:pt x="663057" y="753"/>
                </a:lnTo>
                <a:lnTo>
                  <a:pt x="618257" y="0"/>
                </a:lnTo>
                <a:close/>
              </a:path>
            </a:pathLst>
          </a:custGeom>
          <a:solidFill>
            <a:srgbClr val="FF5A00"/>
          </a:solidFill>
        </p:spPr>
        <p:txBody>
          <a:bodyPr wrap="square" lIns="0" tIns="0" rIns="0" bIns="0" rtlCol="0"/>
          <a:lstStyle/>
          <a:p>
            <a:endParaRPr sz="1639"/>
          </a:p>
        </p:txBody>
      </p:sp>
      <p:sp>
        <p:nvSpPr>
          <p:cNvPr id="20" name="object 20"/>
          <p:cNvSpPr txBox="1"/>
          <p:nvPr/>
        </p:nvSpPr>
        <p:spPr>
          <a:xfrm>
            <a:off x="2156386" y="1690236"/>
            <a:ext cx="1355987" cy="992716"/>
          </a:xfrm>
          <a:prstGeom prst="rect">
            <a:avLst/>
          </a:prstGeom>
        </p:spPr>
        <p:txBody>
          <a:bodyPr vert="horz" wrap="square" lIns="0" tIns="11565" rIns="0" bIns="0" rtlCol="0">
            <a:spAutoFit/>
          </a:bodyPr>
          <a:lstStyle/>
          <a:p>
            <a:pPr marL="11565" marR="4626" indent="92517" algn="ctr">
              <a:spcBef>
                <a:spcPts val="91"/>
              </a:spcBef>
            </a:pPr>
            <a:r>
              <a:rPr lang="en-GB" sz="1275" b="1">
                <a:latin typeface="Arial"/>
                <a:cs typeface="Arial"/>
              </a:rPr>
              <a:t>Pre-populated self assessment templates uploaded </a:t>
            </a:r>
            <a:br>
              <a:rPr lang="en-GB" sz="1275">
                <a:latin typeface="Arial"/>
                <a:cs typeface="Arial"/>
              </a:rPr>
            </a:br>
            <a:r>
              <a:rPr lang="en-GB" sz="1275" b="1" i="1">
                <a:solidFill>
                  <a:srgbClr val="00B0F0"/>
                </a:solidFill>
                <a:latin typeface="Arial"/>
                <a:cs typeface="Arial"/>
              </a:rPr>
              <a:t>(14 January)</a:t>
            </a:r>
            <a:endParaRPr sz="1275" b="1" i="1">
              <a:solidFill>
                <a:srgbClr val="00B0F0"/>
              </a:solidFill>
              <a:latin typeface="Arial"/>
              <a:cs typeface="Arial"/>
            </a:endParaRPr>
          </a:p>
        </p:txBody>
      </p:sp>
      <p:grpSp>
        <p:nvGrpSpPr>
          <p:cNvPr id="22" name="object 22"/>
          <p:cNvGrpSpPr/>
          <p:nvPr/>
        </p:nvGrpSpPr>
        <p:grpSpPr>
          <a:xfrm>
            <a:off x="1988520" y="2334958"/>
            <a:ext cx="8301881" cy="2986642"/>
            <a:chOff x="2179320" y="2580132"/>
            <a:chExt cx="9116695" cy="3279775"/>
          </a:xfrm>
        </p:grpSpPr>
        <p:sp>
          <p:nvSpPr>
            <p:cNvPr id="23" name="object 23"/>
            <p:cNvSpPr/>
            <p:nvPr/>
          </p:nvSpPr>
          <p:spPr>
            <a:xfrm>
              <a:off x="2285238" y="4696205"/>
              <a:ext cx="10795" cy="937894"/>
            </a:xfrm>
            <a:custGeom>
              <a:avLst/>
              <a:gdLst/>
              <a:ahLst/>
              <a:cxnLst/>
              <a:rect l="l" t="t" r="r" b="b"/>
              <a:pathLst>
                <a:path w="10794" h="937895">
                  <a:moveTo>
                    <a:pt x="0" y="0"/>
                  </a:moveTo>
                  <a:lnTo>
                    <a:pt x="10668" y="937894"/>
                  </a:lnTo>
                </a:path>
              </a:pathLst>
            </a:custGeom>
            <a:ln w="28956">
              <a:solidFill>
                <a:srgbClr val="FF5A00"/>
              </a:solidFill>
              <a:prstDash val="sysDash"/>
            </a:ln>
          </p:spPr>
          <p:txBody>
            <a:bodyPr wrap="square" lIns="0" tIns="0" rIns="0" bIns="0" rtlCol="0"/>
            <a:lstStyle/>
            <a:p>
              <a:endParaRPr sz="1639"/>
            </a:p>
          </p:txBody>
        </p:sp>
        <p:pic>
          <p:nvPicPr>
            <p:cNvPr id="24" name="object 24"/>
            <p:cNvPicPr/>
            <p:nvPr/>
          </p:nvPicPr>
          <p:blipFill>
            <a:blip r:embed="rId4" cstate="print"/>
            <a:stretch>
              <a:fillRect/>
            </a:stretch>
          </p:blipFill>
          <p:spPr>
            <a:xfrm>
              <a:off x="2179320" y="5634227"/>
              <a:ext cx="199644" cy="225551"/>
            </a:xfrm>
            <a:prstGeom prst="rect">
              <a:avLst/>
            </a:prstGeom>
          </p:spPr>
        </p:pic>
        <p:sp>
          <p:nvSpPr>
            <p:cNvPr id="25" name="object 25"/>
            <p:cNvSpPr/>
            <p:nvPr/>
          </p:nvSpPr>
          <p:spPr>
            <a:xfrm>
              <a:off x="6924294" y="4668774"/>
              <a:ext cx="0" cy="381000"/>
            </a:xfrm>
            <a:custGeom>
              <a:avLst/>
              <a:gdLst/>
              <a:ahLst/>
              <a:cxnLst/>
              <a:rect l="l" t="t" r="r" b="b"/>
              <a:pathLst>
                <a:path h="381000">
                  <a:moveTo>
                    <a:pt x="0" y="0"/>
                  </a:moveTo>
                  <a:lnTo>
                    <a:pt x="0" y="380492"/>
                  </a:lnTo>
                </a:path>
              </a:pathLst>
            </a:custGeom>
            <a:ln w="28956">
              <a:solidFill>
                <a:srgbClr val="78DFC2"/>
              </a:solidFill>
              <a:prstDash val="sysDash"/>
            </a:ln>
          </p:spPr>
          <p:txBody>
            <a:bodyPr wrap="square" lIns="0" tIns="0" rIns="0" bIns="0" rtlCol="0"/>
            <a:lstStyle/>
            <a:p>
              <a:endParaRPr sz="1639"/>
            </a:p>
          </p:txBody>
        </p:sp>
        <p:pic>
          <p:nvPicPr>
            <p:cNvPr id="26" name="object 26"/>
            <p:cNvPicPr/>
            <p:nvPr/>
          </p:nvPicPr>
          <p:blipFill>
            <a:blip r:embed="rId5" cstate="print"/>
            <a:stretch>
              <a:fillRect/>
            </a:stretch>
          </p:blipFill>
          <p:spPr>
            <a:xfrm>
              <a:off x="6804660" y="4981955"/>
              <a:ext cx="213360" cy="237744"/>
            </a:xfrm>
            <a:prstGeom prst="rect">
              <a:avLst/>
            </a:prstGeom>
          </p:spPr>
        </p:pic>
        <p:sp>
          <p:nvSpPr>
            <p:cNvPr id="27" name="object 27"/>
            <p:cNvSpPr/>
            <p:nvPr/>
          </p:nvSpPr>
          <p:spPr>
            <a:xfrm>
              <a:off x="11196065" y="2794254"/>
              <a:ext cx="0" cy="624205"/>
            </a:xfrm>
            <a:custGeom>
              <a:avLst/>
              <a:gdLst/>
              <a:ahLst/>
              <a:cxnLst/>
              <a:rect l="l" t="t" r="r" b="b"/>
              <a:pathLst>
                <a:path h="624204">
                  <a:moveTo>
                    <a:pt x="0" y="623697"/>
                  </a:moveTo>
                  <a:lnTo>
                    <a:pt x="0" y="0"/>
                  </a:lnTo>
                </a:path>
              </a:pathLst>
            </a:custGeom>
            <a:ln w="28956">
              <a:solidFill>
                <a:srgbClr val="F100C2"/>
              </a:solidFill>
              <a:prstDash val="sysDash"/>
            </a:ln>
          </p:spPr>
          <p:txBody>
            <a:bodyPr wrap="square" lIns="0" tIns="0" rIns="0" bIns="0" rtlCol="0"/>
            <a:lstStyle/>
            <a:p>
              <a:endParaRPr sz="1639"/>
            </a:p>
          </p:txBody>
        </p:sp>
        <p:pic>
          <p:nvPicPr>
            <p:cNvPr id="28" name="object 28"/>
            <p:cNvPicPr/>
            <p:nvPr/>
          </p:nvPicPr>
          <p:blipFill>
            <a:blip r:embed="rId6" cstate="print"/>
            <a:stretch>
              <a:fillRect/>
            </a:stretch>
          </p:blipFill>
          <p:spPr>
            <a:xfrm>
              <a:off x="11096244" y="2580132"/>
              <a:ext cx="199644" cy="225551"/>
            </a:xfrm>
            <a:prstGeom prst="rect">
              <a:avLst/>
            </a:prstGeom>
          </p:spPr>
        </p:pic>
        <p:sp>
          <p:nvSpPr>
            <p:cNvPr id="29" name="object 29"/>
            <p:cNvSpPr/>
            <p:nvPr/>
          </p:nvSpPr>
          <p:spPr>
            <a:xfrm>
              <a:off x="6205728" y="3561588"/>
              <a:ext cx="1019810" cy="1013460"/>
            </a:xfrm>
            <a:custGeom>
              <a:avLst/>
              <a:gdLst/>
              <a:ahLst/>
              <a:cxnLst/>
              <a:rect l="l" t="t" r="r" b="b"/>
              <a:pathLst>
                <a:path w="1019809" h="1013460">
                  <a:moveTo>
                    <a:pt x="509777" y="0"/>
                  </a:moveTo>
                  <a:lnTo>
                    <a:pt x="460680" y="2319"/>
                  </a:lnTo>
                  <a:lnTo>
                    <a:pt x="412903" y="9135"/>
                  </a:lnTo>
                  <a:lnTo>
                    <a:pt x="366661" y="20236"/>
                  </a:lnTo>
                  <a:lnTo>
                    <a:pt x="322167" y="35409"/>
                  </a:lnTo>
                  <a:lnTo>
                    <a:pt x="279635" y="54443"/>
                  </a:lnTo>
                  <a:lnTo>
                    <a:pt x="239278" y="77125"/>
                  </a:lnTo>
                  <a:lnTo>
                    <a:pt x="201310" y="103243"/>
                  </a:lnTo>
                  <a:lnTo>
                    <a:pt x="165944" y="132585"/>
                  </a:lnTo>
                  <a:lnTo>
                    <a:pt x="133394" y="164939"/>
                  </a:lnTo>
                  <a:lnTo>
                    <a:pt x="103874" y="200092"/>
                  </a:lnTo>
                  <a:lnTo>
                    <a:pt x="77597" y="237833"/>
                  </a:lnTo>
                  <a:lnTo>
                    <a:pt x="54776" y="277949"/>
                  </a:lnTo>
                  <a:lnTo>
                    <a:pt x="35626" y="320228"/>
                  </a:lnTo>
                  <a:lnTo>
                    <a:pt x="20360" y="364457"/>
                  </a:lnTo>
                  <a:lnTo>
                    <a:pt x="9191" y="410426"/>
                  </a:lnTo>
                  <a:lnTo>
                    <a:pt x="2333" y="457920"/>
                  </a:lnTo>
                  <a:lnTo>
                    <a:pt x="0" y="506729"/>
                  </a:lnTo>
                  <a:lnTo>
                    <a:pt x="2333" y="555539"/>
                  </a:lnTo>
                  <a:lnTo>
                    <a:pt x="9191" y="603033"/>
                  </a:lnTo>
                  <a:lnTo>
                    <a:pt x="20360" y="649002"/>
                  </a:lnTo>
                  <a:lnTo>
                    <a:pt x="35626" y="693231"/>
                  </a:lnTo>
                  <a:lnTo>
                    <a:pt x="54776" y="735510"/>
                  </a:lnTo>
                  <a:lnTo>
                    <a:pt x="77597" y="775626"/>
                  </a:lnTo>
                  <a:lnTo>
                    <a:pt x="103874" y="813367"/>
                  </a:lnTo>
                  <a:lnTo>
                    <a:pt x="133394" y="848520"/>
                  </a:lnTo>
                  <a:lnTo>
                    <a:pt x="165944" y="880874"/>
                  </a:lnTo>
                  <a:lnTo>
                    <a:pt x="201310" y="910216"/>
                  </a:lnTo>
                  <a:lnTo>
                    <a:pt x="239278" y="936334"/>
                  </a:lnTo>
                  <a:lnTo>
                    <a:pt x="279635" y="959016"/>
                  </a:lnTo>
                  <a:lnTo>
                    <a:pt x="322167" y="978050"/>
                  </a:lnTo>
                  <a:lnTo>
                    <a:pt x="366661" y="993223"/>
                  </a:lnTo>
                  <a:lnTo>
                    <a:pt x="412903" y="1004324"/>
                  </a:lnTo>
                  <a:lnTo>
                    <a:pt x="460680" y="1011140"/>
                  </a:lnTo>
                  <a:lnTo>
                    <a:pt x="509777" y="1013460"/>
                  </a:lnTo>
                  <a:lnTo>
                    <a:pt x="558875" y="1011140"/>
                  </a:lnTo>
                  <a:lnTo>
                    <a:pt x="606652" y="1004324"/>
                  </a:lnTo>
                  <a:lnTo>
                    <a:pt x="652894" y="993223"/>
                  </a:lnTo>
                  <a:lnTo>
                    <a:pt x="697388" y="978050"/>
                  </a:lnTo>
                  <a:lnTo>
                    <a:pt x="739920" y="959016"/>
                  </a:lnTo>
                  <a:lnTo>
                    <a:pt x="780277" y="936334"/>
                  </a:lnTo>
                  <a:lnTo>
                    <a:pt x="818245" y="910216"/>
                  </a:lnTo>
                  <a:lnTo>
                    <a:pt x="853611" y="880874"/>
                  </a:lnTo>
                  <a:lnTo>
                    <a:pt x="886161" y="848520"/>
                  </a:lnTo>
                  <a:lnTo>
                    <a:pt x="915681" y="813367"/>
                  </a:lnTo>
                  <a:lnTo>
                    <a:pt x="941958" y="775626"/>
                  </a:lnTo>
                  <a:lnTo>
                    <a:pt x="964779" y="735510"/>
                  </a:lnTo>
                  <a:lnTo>
                    <a:pt x="983929" y="693231"/>
                  </a:lnTo>
                  <a:lnTo>
                    <a:pt x="999195" y="649002"/>
                  </a:lnTo>
                  <a:lnTo>
                    <a:pt x="1010364" y="603033"/>
                  </a:lnTo>
                  <a:lnTo>
                    <a:pt x="1017222" y="555539"/>
                  </a:lnTo>
                  <a:lnTo>
                    <a:pt x="1019555" y="506729"/>
                  </a:lnTo>
                  <a:lnTo>
                    <a:pt x="1017222" y="457920"/>
                  </a:lnTo>
                  <a:lnTo>
                    <a:pt x="1010364" y="410426"/>
                  </a:lnTo>
                  <a:lnTo>
                    <a:pt x="999195" y="364457"/>
                  </a:lnTo>
                  <a:lnTo>
                    <a:pt x="983929" y="320228"/>
                  </a:lnTo>
                  <a:lnTo>
                    <a:pt x="964779" y="277949"/>
                  </a:lnTo>
                  <a:lnTo>
                    <a:pt x="941958" y="237833"/>
                  </a:lnTo>
                  <a:lnTo>
                    <a:pt x="915681" y="200092"/>
                  </a:lnTo>
                  <a:lnTo>
                    <a:pt x="886161" y="164939"/>
                  </a:lnTo>
                  <a:lnTo>
                    <a:pt x="853611" y="132585"/>
                  </a:lnTo>
                  <a:lnTo>
                    <a:pt x="818245" y="103243"/>
                  </a:lnTo>
                  <a:lnTo>
                    <a:pt x="780277" y="77125"/>
                  </a:lnTo>
                  <a:lnTo>
                    <a:pt x="739920" y="54443"/>
                  </a:lnTo>
                  <a:lnTo>
                    <a:pt x="697388" y="35409"/>
                  </a:lnTo>
                  <a:lnTo>
                    <a:pt x="652894" y="20236"/>
                  </a:lnTo>
                  <a:lnTo>
                    <a:pt x="606652" y="9135"/>
                  </a:lnTo>
                  <a:lnTo>
                    <a:pt x="558875" y="2319"/>
                  </a:lnTo>
                  <a:lnTo>
                    <a:pt x="509777" y="0"/>
                  </a:lnTo>
                  <a:close/>
                </a:path>
              </a:pathLst>
            </a:custGeom>
            <a:solidFill>
              <a:srgbClr val="1E35BE"/>
            </a:solidFill>
          </p:spPr>
          <p:txBody>
            <a:bodyPr wrap="square" lIns="0" tIns="0" rIns="0" bIns="0" rtlCol="0"/>
            <a:lstStyle/>
            <a:p>
              <a:endParaRPr sz="1639"/>
            </a:p>
          </p:txBody>
        </p:sp>
        <p:sp>
          <p:nvSpPr>
            <p:cNvPr id="30" name="object 30"/>
            <p:cNvSpPr/>
            <p:nvPr/>
          </p:nvSpPr>
          <p:spPr>
            <a:xfrm>
              <a:off x="6297167" y="3659124"/>
              <a:ext cx="836930" cy="817244"/>
            </a:xfrm>
            <a:custGeom>
              <a:avLst/>
              <a:gdLst/>
              <a:ahLst/>
              <a:cxnLst/>
              <a:rect l="l" t="t" r="r" b="b"/>
              <a:pathLst>
                <a:path w="836929" h="817245">
                  <a:moveTo>
                    <a:pt x="418338" y="0"/>
                  </a:moveTo>
                  <a:lnTo>
                    <a:pt x="369556" y="2748"/>
                  </a:lnTo>
                  <a:lnTo>
                    <a:pt x="322425" y="10787"/>
                  </a:lnTo>
                  <a:lnTo>
                    <a:pt x="277261" y="23813"/>
                  </a:lnTo>
                  <a:lnTo>
                    <a:pt x="234376" y="41516"/>
                  </a:lnTo>
                  <a:lnTo>
                    <a:pt x="194084" y="63592"/>
                  </a:lnTo>
                  <a:lnTo>
                    <a:pt x="156700" y="89733"/>
                  </a:lnTo>
                  <a:lnTo>
                    <a:pt x="122539" y="119634"/>
                  </a:lnTo>
                  <a:lnTo>
                    <a:pt x="91913" y="152986"/>
                  </a:lnTo>
                  <a:lnTo>
                    <a:pt x="65137" y="189484"/>
                  </a:lnTo>
                  <a:lnTo>
                    <a:pt x="42525" y="228822"/>
                  </a:lnTo>
                  <a:lnTo>
                    <a:pt x="24391" y="270692"/>
                  </a:lnTo>
                  <a:lnTo>
                    <a:pt x="11050" y="314788"/>
                  </a:lnTo>
                  <a:lnTo>
                    <a:pt x="2814" y="360803"/>
                  </a:lnTo>
                  <a:lnTo>
                    <a:pt x="0" y="408432"/>
                  </a:lnTo>
                  <a:lnTo>
                    <a:pt x="2814" y="456060"/>
                  </a:lnTo>
                  <a:lnTo>
                    <a:pt x="11050" y="502075"/>
                  </a:lnTo>
                  <a:lnTo>
                    <a:pt x="24391" y="546171"/>
                  </a:lnTo>
                  <a:lnTo>
                    <a:pt x="42525" y="588041"/>
                  </a:lnTo>
                  <a:lnTo>
                    <a:pt x="65137" y="627379"/>
                  </a:lnTo>
                  <a:lnTo>
                    <a:pt x="91913" y="663877"/>
                  </a:lnTo>
                  <a:lnTo>
                    <a:pt x="122539" y="697229"/>
                  </a:lnTo>
                  <a:lnTo>
                    <a:pt x="156700" y="727130"/>
                  </a:lnTo>
                  <a:lnTo>
                    <a:pt x="194084" y="753271"/>
                  </a:lnTo>
                  <a:lnTo>
                    <a:pt x="234376" y="775347"/>
                  </a:lnTo>
                  <a:lnTo>
                    <a:pt x="277261" y="793050"/>
                  </a:lnTo>
                  <a:lnTo>
                    <a:pt x="322425" y="806076"/>
                  </a:lnTo>
                  <a:lnTo>
                    <a:pt x="369556" y="814115"/>
                  </a:lnTo>
                  <a:lnTo>
                    <a:pt x="418338" y="816863"/>
                  </a:lnTo>
                  <a:lnTo>
                    <a:pt x="467119" y="814115"/>
                  </a:lnTo>
                  <a:lnTo>
                    <a:pt x="514250" y="806076"/>
                  </a:lnTo>
                  <a:lnTo>
                    <a:pt x="559414" y="793050"/>
                  </a:lnTo>
                  <a:lnTo>
                    <a:pt x="602299" y="775347"/>
                  </a:lnTo>
                  <a:lnTo>
                    <a:pt x="642591" y="753271"/>
                  </a:lnTo>
                  <a:lnTo>
                    <a:pt x="679975" y="727130"/>
                  </a:lnTo>
                  <a:lnTo>
                    <a:pt x="714136" y="697229"/>
                  </a:lnTo>
                  <a:lnTo>
                    <a:pt x="744762" y="663877"/>
                  </a:lnTo>
                  <a:lnTo>
                    <a:pt x="771538" y="627379"/>
                  </a:lnTo>
                  <a:lnTo>
                    <a:pt x="794150" y="588041"/>
                  </a:lnTo>
                  <a:lnTo>
                    <a:pt x="812284" y="546171"/>
                  </a:lnTo>
                  <a:lnTo>
                    <a:pt x="825625" y="502075"/>
                  </a:lnTo>
                  <a:lnTo>
                    <a:pt x="833861" y="456060"/>
                  </a:lnTo>
                  <a:lnTo>
                    <a:pt x="836676" y="408432"/>
                  </a:lnTo>
                  <a:lnTo>
                    <a:pt x="833861" y="360803"/>
                  </a:lnTo>
                  <a:lnTo>
                    <a:pt x="825625" y="314788"/>
                  </a:lnTo>
                  <a:lnTo>
                    <a:pt x="812284" y="270692"/>
                  </a:lnTo>
                  <a:lnTo>
                    <a:pt x="794150" y="228822"/>
                  </a:lnTo>
                  <a:lnTo>
                    <a:pt x="771538" y="189484"/>
                  </a:lnTo>
                  <a:lnTo>
                    <a:pt x="744762" y="152986"/>
                  </a:lnTo>
                  <a:lnTo>
                    <a:pt x="714136" y="119633"/>
                  </a:lnTo>
                  <a:lnTo>
                    <a:pt x="679975" y="89733"/>
                  </a:lnTo>
                  <a:lnTo>
                    <a:pt x="642591" y="63592"/>
                  </a:lnTo>
                  <a:lnTo>
                    <a:pt x="602299" y="41516"/>
                  </a:lnTo>
                  <a:lnTo>
                    <a:pt x="559414" y="23813"/>
                  </a:lnTo>
                  <a:lnTo>
                    <a:pt x="514250" y="10787"/>
                  </a:lnTo>
                  <a:lnTo>
                    <a:pt x="467119" y="2748"/>
                  </a:lnTo>
                  <a:lnTo>
                    <a:pt x="418338" y="0"/>
                  </a:lnTo>
                  <a:close/>
                </a:path>
              </a:pathLst>
            </a:custGeom>
            <a:solidFill>
              <a:srgbClr val="FFFFFF"/>
            </a:solidFill>
          </p:spPr>
          <p:txBody>
            <a:bodyPr wrap="square" lIns="0" tIns="0" rIns="0" bIns="0" rtlCol="0"/>
            <a:lstStyle/>
            <a:p>
              <a:endParaRPr sz="1639"/>
            </a:p>
          </p:txBody>
        </p:sp>
      </p:grpSp>
      <p:grpSp>
        <p:nvGrpSpPr>
          <p:cNvPr id="33" name="object 33"/>
          <p:cNvGrpSpPr/>
          <p:nvPr/>
        </p:nvGrpSpPr>
        <p:grpSpPr>
          <a:xfrm>
            <a:off x="5553062" y="3124469"/>
            <a:ext cx="5107070" cy="1173840"/>
            <a:chOff x="6090323" y="3431130"/>
            <a:chExt cx="5608320" cy="1289050"/>
          </a:xfrm>
        </p:grpSpPr>
        <p:sp>
          <p:nvSpPr>
            <p:cNvPr id="34" name="object 34"/>
            <p:cNvSpPr/>
            <p:nvPr/>
          </p:nvSpPr>
          <p:spPr>
            <a:xfrm>
              <a:off x="6090323" y="3431130"/>
              <a:ext cx="1264285" cy="1289050"/>
            </a:xfrm>
            <a:custGeom>
              <a:avLst/>
              <a:gdLst/>
              <a:ahLst/>
              <a:cxnLst/>
              <a:rect l="l" t="t" r="r" b="b"/>
              <a:pathLst>
                <a:path w="1264284" h="1289050">
                  <a:moveTo>
                    <a:pt x="618205" y="0"/>
                  </a:moveTo>
                  <a:lnTo>
                    <a:pt x="573173" y="2531"/>
                  </a:lnTo>
                  <a:lnTo>
                    <a:pt x="528069" y="8417"/>
                  </a:lnTo>
                  <a:lnTo>
                    <a:pt x="483051" y="17726"/>
                  </a:lnTo>
                  <a:lnTo>
                    <a:pt x="438280" y="30528"/>
                  </a:lnTo>
                  <a:lnTo>
                    <a:pt x="393915" y="46891"/>
                  </a:lnTo>
                  <a:lnTo>
                    <a:pt x="350858" y="66515"/>
                  </a:lnTo>
                  <a:lnTo>
                    <a:pt x="309951" y="88981"/>
                  </a:lnTo>
                  <a:lnTo>
                    <a:pt x="271262" y="114127"/>
                  </a:lnTo>
                  <a:lnTo>
                    <a:pt x="234856" y="141791"/>
                  </a:lnTo>
                  <a:lnTo>
                    <a:pt x="200803" y="171810"/>
                  </a:lnTo>
                  <a:lnTo>
                    <a:pt x="169167" y="204023"/>
                  </a:lnTo>
                  <a:lnTo>
                    <a:pt x="140017" y="238267"/>
                  </a:lnTo>
                  <a:lnTo>
                    <a:pt x="113421" y="274380"/>
                  </a:lnTo>
                  <a:lnTo>
                    <a:pt x="89444" y="312200"/>
                  </a:lnTo>
                  <a:lnTo>
                    <a:pt x="68154" y="351566"/>
                  </a:lnTo>
                  <a:lnTo>
                    <a:pt x="49618" y="392315"/>
                  </a:lnTo>
                  <a:lnTo>
                    <a:pt x="33903" y="434284"/>
                  </a:lnTo>
                  <a:lnTo>
                    <a:pt x="21077" y="477313"/>
                  </a:lnTo>
                  <a:lnTo>
                    <a:pt x="11207" y="521238"/>
                  </a:lnTo>
                  <a:lnTo>
                    <a:pt x="4359" y="565898"/>
                  </a:lnTo>
                  <a:lnTo>
                    <a:pt x="601" y="611130"/>
                  </a:lnTo>
                  <a:lnTo>
                    <a:pt x="0" y="656773"/>
                  </a:lnTo>
                  <a:lnTo>
                    <a:pt x="2622" y="702664"/>
                  </a:lnTo>
                  <a:lnTo>
                    <a:pt x="8536" y="748642"/>
                  </a:lnTo>
                  <a:lnTo>
                    <a:pt x="17809" y="794544"/>
                  </a:lnTo>
                  <a:lnTo>
                    <a:pt x="30507" y="840208"/>
                  </a:lnTo>
                  <a:lnTo>
                    <a:pt x="46697" y="885472"/>
                  </a:lnTo>
                  <a:lnTo>
                    <a:pt x="66100" y="929397"/>
                  </a:lnTo>
                  <a:lnTo>
                    <a:pt x="88287" y="971142"/>
                  </a:lnTo>
                  <a:lnTo>
                    <a:pt x="113098" y="1010638"/>
                  </a:lnTo>
                  <a:lnTo>
                    <a:pt x="140372" y="1047816"/>
                  </a:lnTo>
                  <a:lnTo>
                    <a:pt x="169951" y="1082607"/>
                  </a:lnTo>
                  <a:lnTo>
                    <a:pt x="201676" y="1114941"/>
                  </a:lnTo>
                  <a:lnTo>
                    <a:pt x="235386" y="1144751"/>
                  </a:lnTo>
                  <a:lnTo>
                    <a:pt x="270923" y="1171966"/>
                  </a:lnTo>
                  <a:lnTo>
                    <a:pt x="308127" y="1196518"/>
                  </a:lnTo>
                  <a:lnTo>
                    <a:pt x="346839" y="1218338"/>
                  </a:lnTo>
                  <a:lnTo>
                    <a:pt x="386898" y="1237357"/>
                  </a:lnTo>
                  <a:lnTo>
                    <a:pt x="428146" y="1253506"/>
                  </a:lnTo>
                  <a:lnTo>
                    <a:pt x="470424" y="1266715"/>
                  </a:lnTo>
                  <a:lnTo>
                    <a:pt x="513571" y="1276917"/>
                  </a:lnTo>
                  <a:lnTo>
                    <a:pt x="557428" y="1284041"/>
                  </a:lnTo>
                  <a:lnTo>
                    <a:pt x="601837" y="1288020"/>
                  </a:lnTo>
                  <a:lnTo>
                    <a:pt x="646636" y="1288783"/>
                  </a:lnTo>
                  <a:lnTo>
                    <a:pt x="691668" y="1286263"/>
                  </a:lnTo>
                  <a:lnTo>
                    <a:pt x="736773" y="1280389"/>
                  </a:lnTo>
                  <a:lnTo>
                    <a:pt x="781790" y="1271094"/>
                  </a:lnTo>
                  <a:lnTo>
                    <a:pt x="826561" y="1258307"/>
                  </a:lnTo>
                  <a:lnTo>
                    <a:pt x="870927" y="1241961"/>
                  </a:lnTo>
                  <a:lnTo>
                    <a:pt x="848321" y="1185065"/>
                  </a:lnTo>
                  <a:lnTo>
                    <a:pt x="802025" y="1201866"/>
                  </a:lnTo>
                  <a:lnTo>
                    <a:pt x="754563" y="1214513"/>
                  </a:lnTo>
                  <a:lnTo>
                    <a:pt x="706196" y="1222944"/>
                  </a:lnTo>
                  <a:lnTo>
                    <a:pt x="657186" y="1227102"/>
                  </a:lnTo>
                  <a:lnTo>
                    <a:pt x="610294" y="1227075"/>
                  </a:lnTo>
                  <a:lnTo>
                    <a:pt x="564285" y="1223243"/>
                  </a:lnTo>
                  <a:lnTo>
                    <a:pt x="519312" y="1215751"/>
                  </a:lnTo>
                  <a:lnTo>
                    <a:pt x="475528" y="1204740"/>
                  </a:lnTo>
                  <a:lnTo>
                    <a:pt x="433086" y="1190357"/>
                  </a:lnTo>
                  <a:lnTo>
                    <a:pt x="392140" y="1172744"/>
                  </a:lnTo>
                  <a:lnTo>
                    <a:pt x="352842" y="1152045"/>
                  </a:lnTo>
                  <a:lnTo>
                    <a:pt x="315347" y="1128405"/>
                  </a:lnTo>
                  <a:lnTo>
                    <a:pt x="279805" y="1101967"/>
                  </a:lnTo>
                  <a:lnTo>
                    <a:pt x="246373" y="1072876"/>
                  </a:lnTo>
                  <a:lnTo>
                    <a:pt x="215201" y="1041275"/>
                  </a:lnTo>
                  <a:lnTo>
                    <a:pt x="186444" y="1007307"/>
                  </a:lnTo>
                  <a:lnTo>
                    <a:pt x="160254" y="971118"/>
                  </a:lnTo>
                  <a:lnTo>
                    <a:pt x="136785" y="932851"/>
                  </a:lnTo>
                  <a:lnTo>
                    <a:pt x="116190" y="892649"/>
                  </a:lnTo>
                  <a:lnTo>
                    <a:pt x="98622" y="850657"/>
                  </a:lnTo>
                  <a:lnTo>
                    <a:pt x="84234" y="807019"/>
                  </a:lnTo>
                  <a:lnTo>
                    <a:pt x="73179" y="761879"/>
                  </a:lnTo>
                  <a:lnTo>
                    <a:pt x="65611" y="715380"/>
                  </a:lnTo>
                  <a:lnTo>
                    <a:pt x="61683" y="667667"/>
                  </a:lnTo>
                  <a:lnTo>
                    <a:pt x="61538" y="619798"/>
                  </a:lnTo>
                  <a:lnTo>
                    <a:pt x="65126" y="572842"/>
                  </a:lnTo>
                  <a:lnTo>
                    <a:pt x="72306" y="526954"/>
                  </a:lnTo>
                  <a:lnTo>
                    <a:pt x="82937" y="482291"/>
                  </a:lnTo>
                  <a:lnTo>
                    <a:pt x="96878" y="439009"/>
                  </a:lnTo>
                  <a:lnTo>
                    <a:pt x="113989" y="397264"/>
                  </a:lnTo>
                  <a:lnTo>
                    <a:pt x="134129" y="357211"/>
                  </a:lnTo>
                  <a:lnTo>
                    <a:pt x="157158" y="319008"/>
                  </a:lnTo>
                  <a:lnTo>
                    <a:pt x="182936" y="282810"/>
                  </a:lnTo>
                  <a:lnTo>
                    <a:pt x="211321" y="248773"/>
                  </a:lnTo>
                  <a:lnTo>
                    <a:pt x="242172" y="217054"/>
                  </a:lnTo>
                  <a:lnTo>
                    <a:pt x="275351" y="187808"/>
                  </a:lnTo>
                  <a:lnTo>
                    <a:pt x="310715" y="161192"/>
                  </a:lnTo>
                  <a:lnTo>
                    <a:pt x="348124" y="137361"/>
                  </a:lnTo>
                  <a:lnTo>
                    <a:pt x="387438" y="116473"/>
                  </a:lnTo>
                  <a:lnTo>
                    <a:pt x="428516" y="98682"/>
                  </a:lnTo>
                  <a:lnTo>
                    <a:pt x="471217" y="84146"/>
                  </a:lnTo>
                  <a:lnTo>
                    <a:pt x="515401" y="73020"/>
                  </a:lnTo>
                  <a:lnTo>
                    <a:pt x="560928" y="65460"/>
                  </a:lnTo>
                  <a:lnTo>
                    <a:pt x="607656" y="61623"/>
                  </a:lnTo>
                  <a:lnTo>
                    <a:pt x="654548" y="61650"/>
                  </a:lnTo>
                  <a:lnTo>
                    <a:pt x="700557" y="65484"/>
                  </a:lnTo>
                  <a:lnTo>
                    <a:pt x="745530" y="72981"/>
                  </a:lnTo>
                  <a:lnTo>
                    <a:pt x="789314" y="83997"/>
                  </a:lnTo>
                  <a:lnTo>
                    <a:pt x="831755" y="98387"/>
                  </a:lnTo>
                  <a:lnTo>
                    <a:pt x="872702" y="116008"/>
                  </a:lnTo>
                  <a:lnTo>
                    <a:pt x="911999" y="136715"/>
                  </a:lnTo>
                  <a:lnTo>
                    <a:pt x="949495" y="160364"/>
                  </a:lnTo>
                  <a:lnTo>
                    <a:pt x="985036" y="186811"/>
                  </a:lnTo>
                  <a:lnTo>
                    <a:pt x="1018469" y="215912"/>
                  </a:lnTo>
                  <a:lnTo>
                    <a:pt x="1049641" y="247523"/>
                  </a:lnTo>
                  <a:lnTo>
                    <a:pt x="1078398" y="281499"/>
                  </a:lnTo>
                  <a:lnTo>
                    <a:pt x="1104588" y="317697"/>
                  </a:lnTo>
                  <a:lnTo>
                    <a:pt x="1128057" y="355973"/>
                  </a:lnTo>
                  <a:lnTo>
                    <a:pt x="1148652" y="396182"/>
                  </a:lnTo>
                  <a:lnTo>
                    <a:pt x="1166220" y="438181"/>
                  </a:lnTo>
                  <a:lnTo>
                    <a:pt x="1180608" y="481824"/>
                  </a:lnTo>
                  <a:lnTo>
                    <a:pt x="1191663" y="526969"/>
                  </a:lnTo>
                  <a:lnTo>
                    <a:pt x="1199231" y="573470"/>
                  </a:lnTo>
                  <a:lnTo>
                    <a:pt x="1203159" y="621185"/>
                  </a:lnTo>
                  <a:lnTo>
                    <a:pt x="1264246" y="618645"/>
                  </a:lnTo>
                  <a:lnTo>
                    <a:pt x="1259614" y="563469"/>
                  </a:lnTo>
                  <a:lnTo>
                    <a:pt x="1250339" y="508996"/>
                  </a:lnTo>
                  <a:lnTo>
                    <a:pt x="1236492" y="455499"/>
                  </a:lnTo>
                  <a:lnTo>
                    <a:pt x="1218145" y="403253"/>
                  </a:lnTo>
                  <a:lnTo>
                    <a:pt x="1198741" y="359327"/>
                  </a:lnTo>
                  <a:lnTo>
                    <a:pt x="1176554" y="317582"/>
                  </a:lnTo>
                  <a:lnTo>
                    <a:pt x="1151744" y="278086"/>
                  </a:lnTo>
                  <a:lnTo>
                    <a:pt x="1124470" y="240909"/>
                  </a:lnTo>
                  <a:lnTo>
                    <a:pt x="1094890" y="206119"/>
                  </a:lnTo>
                  <a:lnTo>
                    <a:pt x="1063166" y="173785"/>
                  </a:lnTo>
                  <a:lnTo>
                    <a:pt x="1029455" y="143977"/>
                  </a:lnTo>
                  <a:lnTo>
                    <a:pt x="993918" y="116764"/>
                  </a:lnTo>
                  <a:lnTo>
                    <a:pt x="956714" y="92215"/>
                  </a:lnTo>
                  <a:lnTo>
                    <a:pt x="918003" y="70398"/>
                  </a:lnTo>
                  <a:lnTo>
                    <a:pt x="877944" y="51383"/>
                  </a:lnTo>
                  <a:lnTo>
                    <a:pt x="836695" y="35239"/>
                  </a:lnTo>
                  <a:lnTo>
                    <a:pt x="794418" y="22035"/>
                  </a:lnTo>
                  <a:lnTo>
                    <a:pt x="751271" y="11840"/>
                  </a:lnTo>
                  <a:lnTo>
                    <a:pt x="707413" y="4723"/>
                  </a:lnTo>
                  <a:lnTo>
                    <a:pt x="663005" y="753"/>
                  </a:lnTo>
                  <a:lnTo>
                    <a:pt x="618205" y="0"/>
                  </a:lnTo>
                  <a:close/>
                </a:path>
              </a:pathLst>
            </a:custGeom>
            <a:solidFill>
              <a:srgbClr val="78DFC2"/>
            </a:solidFill>
          </p:spPr>
          <p:txBody>
            <a:bodyPr wrap="square" lIns="0" tIns="0" rIns="0" bIns="0" rtlCol="0"/>
            <a:lstStyle/>
            <a:p>
              <a:endParaRPr sz="1639"/>
            </a:p>
          </p:txBody>
        </p:sp>
        <p:sp>
          <p:nvSpPr>
            <p:cNvPr id="35" name="object 35"/>
            <p:cNvSpPr/>
            <p:nvPr/>
          </p:nvSpPr>
          <p:spPr>
            <a:xfrm>
              <a:off x="10678667" y="3550919"/>
              <a:ext cx="1019810" cy="1013460"/>
            </a:xfrm>
            <a:custGeom>
              <a:avLst/>
              <a:gdLst/>
              <a:ahLst/>
              <a:cxnLst/>
              <a:rect l="l" t="t" r="r" b="b"/>
              <a:pathLst>
                <a:path w="1019809" h="1013460">
                  <a:moveTo>
                    <a:pt x="509777" y="0"/>
                  </a:moveTo>
                  <a:lnTo>
                    <a:pt x="460680" y="2319"/>
                  </a:lnTo>
                  <a:lnTo>
                    <a:pt x="412903" y="9135"/>
                  </a:lnTo>
                  <a:lnTo>
                    <a:pt x="366661" y="20236"/>
                  </a:lnTo>
                  <a:lnTo>
                    <a:pt x="322167" y="35409"/>
                  </a:lnTo>
                  <a:lnTo>
                    <a:pt x="279635" y="54443"/>
                  </a:lnTo>
                  <a:lnTo>
                    <a:pt x="239278" y="77125"/>
                  </a:lnTo>
                  <a:lnTo>
                    <a:pt x="201310" y="103243"/>
                  </a:lnTo>
                  <a:lnTo>
                    <a:pt x="165944" y="132585"/>
                  </a:lnTo>
                  <a:lnTo>
                    <a:pt x="133394" y="164939"/>
                  </a:lnTo>
                  <a:lnTo>
                    <a:pt x="103874" y="200092"/>
                  </a:lnTo>
                  <a:lnTo>
                    <a:pt x="77597" y="237833"/>
                  </a:lnTo>
                  <a:lnTo>
                    <a:pt x="54776" y="277949"/>
                  </a:lnTo>
                  <a:lnTo>
                    <a:pt x="35626" y="320228"/>
                  </a:lnTo>
                  <a:lnTo>
                    <a:pt x="20360" y="364457"/>
                  </a:lnTo>
                  <a:lnTo>
                    <a:pt x="9191" y="410426"/>
                  </a:lnTo>
                  <a:lnTo>
                    <a:pt x="2333" y="457920"/>
                  </a:lnTo>
                  <a:lnTo>
                    <a:pt x="0" y="506729"/>
                  </a:lnTo>
                  <a:lnTo>
                    <a:pt x="2333" y="555539"/>
                  </a:lnTo>
                  <a:lnTo>
                    <a:pt x="9191" y="603033"/>
                  </a:lnTo>
                  <a:lnTo>
                    <a:pt x="20360" y="649002"/>
                  </a:lnTo>
                  <a:lnTo>
                    <a:pt x="35626" y="693231"/>
                  </a:lnTo>
                  <a:lnTo>
                    <a:pt x="54776" y="735510"/>
                  </a:lnTo>
                  <a:lnTo>
                    <a:pt x="77597" y="775626"/>
                  </a:lnTo>
                  <a:lnTo>
                    <a:pt x="103874" y="813367"/>
                  </a:lnTo>
                  <a:lnTo>
                    <a:pt x="133394" y="848520"/>
                  </a:lnTo>
                  <a:lnTo>
                    <a:pt x="165944" y="880874"/>
                  </a:lnTo>
                  <a:lnTo>
                    <a:pt x="201310" y="910216"/>
                  </a:lnTo>
                  <a:lnTo>
                    <a:pt x="239278" y="936334"/>
                  </a:lnTo>
                  <a:lnTo>
                    <a:pt x="279635" y="959016"/>
                  </a:lnTo>
                  <a:lnTo>
                    <a:pt x="322167" y="978050"/>
                  </a:lnTo>
                  <a:lnTo>
                    <a:pt x="366661" y="993223"/>
                  </a:lnTo>
                  <a:lnTo>
                    <a:pt x="412903" y="1004324"/>
                  </a:lnTo>
                  <a:lnTo>
                    <a:pt x="460680" y="1011140"/>
                  </a:lnTo>
                  <a:lnTo>
                    <a:pt x="509777" y="1013459"/>
                  </a:lnTo>
                  <a:lnTo>
                    <a:pt x="558875" y="1011140"/>
                  </a:lnTo>
                  <a:lnTo>
                    <a:pt x="606652" y="1004324"/>
                  </a:lnTo>
                  <a:lnTo>
                    <a:pt x="652894" y="993223"/>
                  </a:lnTo>
                  <a:lnTo>
                    <a:pt x="697388" y="978050"/>
                  </a:lnTo>
                  <a:lnTo>
                    <a:pt x="739920" y="959016"/>
                  </a:lnTo>
                  <a:lnTo>
                    <a:pt x="780277" y="936334"/>
                  </a:lnTo>
                  <a:lnTo>
                    <a:pt x="818245" y="910216"/>
                  </a:lnTo>
                  <a:lnTo>
                    <a:pt x="853611" y="880874"/>
                  </a:lnTo>
                  <a:lnTo>
                    <a:pt x="886161" y="848520"/>
                  </a:lnTo>
                  <a:lnTo>
                    <a:pt x="915681" y="813367"/>
                  </a:lnTo>
                  <a:lnTo>
                    <a:pt x="941958" y="775626"/>
                  </a:lnTo>
                  <a:lnTo>
                    <a:pt x="964779" y="735510"/>
                  </a:lnTo>
                  <a:lnTo>
                    <a:pt x="983929" y="693231"/>
                  </a:lnTo>
                  <a:lnTo>
                    <a:pt x="999195" y="649002"/>
                  </a:lnTo>
                  <a:lnTo>
                    <a:pt x="1010364" y="603033"/>
                  </a:lnTo>
                  <a:lnTo>
                    <a:pt x="1017222" y="555539"/>
                  </a:lnTo>
                  <a:lnTo>
                    <a:pt x="1019555" y="506729"/>
                  </a:lnTo>
                  <a:lnTo>
                    <a:pt x="1017222" y="457920"/>
                  </a:lnTo>
                  <a:lnTo>
                    <a:pt x="1010364" y="410426"/>
                  </a:lnTo>
                  <a:lnTo>
                    <a:pt x="999195" y="364457"/>
                  </a:lnTo>
                  <a:lnTo>
                    <a:pt x="983929" y="320228"/>
                  </a:lnTo>
                  <a:lnTo>
                    <a:pt x="964779" y="277949"/>
                  </a:lnTo>
                  <a:lnTo>
                    <a:pt x="941958" y="237833"/>
                  </a:lnTo>
                  <a:lnTo>
                    <a:pt x="915681" y="200092"/>
                  </a:lnTo>
                  <a:lnTo>
                    <a:pt x="886161" y="164939"/>
                  </a:lnTo>
                  <a:lnTo>
                    <a:pt x="853611" y="132585"/>
                  </a:lnTo>
                  <a:lnTo>
                    <a:pt x="818245" y="103243"/>
                  </a:lnTo>
                  <a:lnTo>
                    <a:pt x="780277" y="77125"/>
                  </a:lnTo>
                  <a:lnTo>
                    <a:pt x="739920" y="54443"/>
                  </a:lnTo>
                  <a:lnTo>
                    <a:pt x="697388" y="35409"/>
                  </a:lnTo>
                  <a:lnTo>
                    <a:pt x="652894" y="20236"/>
                  </a:lnTo>
                  <a:lnTo>
                    <a:pt x="606652" y="9135"/>
                  </a:lnTo>
                  <a:lnTo>
                    <a:pt x="558875" y="2319"/>
                  </a:lnTo>
                  <a:lnTo>
                    <a:pt x="509777" y="0"/>
                  </a:lnTo>
                  <a:close/>
                </a:path>
              </a:pathLst>
            </a:custGeom>
            <a:solidFill>
              <a:srgbClr val="1E35BE"/>
            </a:solidFill>
          </p:spPr>
          <p:txBody>
            <a:bodyPr wrap="square" lIns="0" tIns="0" rIns="0" bIns="0" rtlCol="0"/>
            <a:lstStyle/>
            <a:p>
              <a:endParaRPr sz="1639"/>
            </a:p>
          </p:txBody>
        </p:sp>
        <p:sp>
          <p:nvSpPr>
            <p:cNvPr id="36" name="object 36"/>
            <p:cNvSpPr/>
            <p:nvPr/>
          </p:nvSpPr>
          <p:spPr>
            <a:xfrm>
              <a:off x="10770107" y="3648455"/>
              <a:ext cx="836930" cy="817244"/>
            </a:xfrm>
            <a:custGeom>
              <a:avLst/>
              <a:gdLst/>
              <a:ahLst/>
              <a:cxnLst/>
              <a:rect l="l" t="t" r="r" b="b"/>
              <a:pathLst>
                <a:path w="836929" h="817245">
                  <a:moveTo>
                    <a:pt x="418338" y="0"/>
                  </a:moveTo>
                  <a:lnTo>
                    <a:pt x="369556" y="2748"/>
                  </a:lnTo>
                  <a:lnTo>
                    <a:pt x="322425" y="10787"/>
                  </a:lnTo>
                  <a:lnTo>
                    <a:pt x="277261" y="23813"/>
                  </a:lnTo>
                  <a:lnTo>
                    <a:pt x="234376" y="41516"/>
                  </a:lnTo>
                  <a:lnTo>
                    <a:pt x="194084" y="63592"/>
                  </a:lnTo>
                  <a:lnTo>
                    <a:pt x="156700" y="89733"/>
                  </a:lnTo>
                  <a:lnTo>
                    <a:pt x="122539" y="119633"/>
                  </a:lnTo>
                  <a:lnTo>
                    <a:pt x="91913" y="152986"/>
                  </a:lnTo>
                  <a:lnTo>
                    <a:pt x="65137" y="189484"/>
                  </a:lnTo>
                  <a:lnTo>
                    <a:pt x="42525" y="228822"/>
                  </a:lnTo>
                  <a:lnTo>
                    <a:pt x="24391" y="270692"/>
                  </a:lnTo>
                  <a:lnTo>
                    <a:pt x="11050" y="314788"/>
                  </a:lnTo>
                  <a:lnTo>
                    <a:pt x="2814" y="360803"/>
                  </a:lnTo>
                  <a:lnTo>
                    <a:pt x="0" y="408431"/>
                  </a:lnTo>
                  <a:lnTo>
                    <a:pt x="2814" y="456060"/>
                  </a:lnTo>
                  <a:lnTo>
                    <a:pt x="11050" y="502075"/>
                  </a:lnTo>
                  <a:lnTo>
                    <a:pt x="24391" y="546171"/>
                  </a:lnTo>
                  <a:lnTo>
                    <a:pt x="42525" y="588041"/>
                  </a:lnTo>
                  <a:lnTo>
                    <a:pt x="65137" y="627379"/>
                  </a:lnTo>
                  <a:lnTo>
                    <a:pt x="91913" y="663877"/>
                  </a:lnTo>
                  <a:lnTo>
                    <a:pt x="122539" y="697229"/>
                  </a:lnTo>
                  <a:lnTo>
                    <a:pt x="156700" y="727130"/>
                  </a:lnTo>
                  <a:lnTo>
                    <a:pt x="194084" y="753271"/>
                  </a:lnTo>
                  <a:lnTo>
                    <a:pt x="234376" y="775347"/>
                  </a:lnTo>
                  <a:lnTo>
                    <a:pt x="277261" y="793050"/>
                  </a:lnTo>
                  <a:lnTo>
                    <a:pt x="322425" y="806076"/>
                  </a:lnTo>
                  <a:lnTo>
                    <a:pt x="369556" y="814115"/>
                  </a:lnTo>
                  <a:lnTo>
                    <a:pt x="418338" y="816863"/>
                  </a:lnTo>
                  <a:lnTo>
                    <a:pt x="467119" y="814115"/>
                  </a:lnTo>
                  <a:lnTo>
                    <a:pt x="514250" y="806076"/>
                  </a:lnTo>
                  <a:lnTo>
                    <a:pt x="559414" y="793050"/>
                  </a:lnTo>
                  <a:lnTo>
                    <a:pt x="602299" y="775347"/>
                  </a:lnTo>
                  <a:lnTo>
                    <a:pt x="642591" y="753271"/>
                  </a:lnTo>
                  <a:lnTo>
                    <a:pt x="679975" y="727130"/>
                  </a:lnTo>
                  <a:lnTo>
                    <a:pt x="714136" y="697229"/>
                  </a:lnTo>
                  <a:lnTo>
                    <a:pt x="744762" y="663877"/>
                  </a:lnTo>
                  <a:lnTo>
                    <a:pt x="771538" y="627379"/>
                  </a:lnTo>
                  <a:lnTo>
                    <a:pt x="794150" y="588041"/>
                  </a:lnTo>
                  <a:lnTo>
                    <a:pt x="812284" y="546171"/>
                  </a:lnTo>
                  <a:lnTo>
                    <a:pt x="825625" y="502075"/>
                  </a:lnTo>
                  <a:lnTo>
                    <a:pt x="833861" y="456060"/>
                  </a:lnTo>
                  <a:lnTo>
                    <a:pt x="836676" y="408431"/>
                  </a:lnTo>
                  <a:lnTo>
                    <a:pt x="833861" y="360803"/>
                  </a:lnTo>
                  <a:lnTo>
                    <a:pt x="825625" y="314788"/>
                  </a:lnTo>
                  <a:lnTo>
                    <a:pt x="812284" y="270692"/>
                  </a:lnTo>
                  <a:lnTo>
                    <a:pt x="794150" y="228822"/>
                  </a:lnTo>
                  <a:lnTo>
                    <a:pt x="771538" y="189484"/>
                  </a:lnTo>
                  <a:lnTo>
                    <a:pt x="744762" y="152986"/>
                  </a:lnTo>
                  <a:lnTo>
                    <a:pt x="714136" y="119633"/>
                  </a:lnTo>
                  <a:lnTo>
                    <a:pt x="679975" y="89733"/>
                  </a:lnTo>
                  <a:lnTo>
                    <a:pt x="642591" y="63592"/>
                  </a:lnTo>
                  <a:lnTo>
                    <a:pt x="602299" y="41516"/>
                  </a:lnTo>
                  <a:lnTo>
                    <a:pt x="559414" y="23813"/>
                  </a:lnTo>
                  <a:lnTo>
                    <a:pt x="514250" y="10787"/>
                  </a:lnTo>
                  <a:lnTo>
                    <a:pt x="467119" y="2748"/>
                  </a:lnTo>
                  <a:lnTo>
                    <a:pt x="418338" y="0"/>
                  </a:lnTo>
                  <a:close/>
                </a:path>
              </a:pathLst>
            </a:custGeom>
            <a:solidFill>
              <a:srgbClr val="FFFFFF"/>
            </a:solidFill>
          </p:spPr>
          <p:txBody>
            <a:bodyPr wrap="square" lIns="0" tIns="0" rIns="0" bIns="0" rtlCol="0"/>
            <a:lstStyle/>
            <a:p>
              <a:endParaRPr sz="1639"/>
            </a:p>
          </p:txBody>
        </p:sp>
      </p:grpSp>
      <p:grpSp>
        <p:nvGrpSpPr>
          <p:cNvPr id="38" name="object 38"/>
          <p:cNvGrpSpPr/>
          <p:nvPr/>
        </p:nvGrpSpPr>
        <p:grpSpPr>
          <a:xfrm>
            <a:off x="2376026" y="2746437"/>
            <a:ext cx="8402137" cy="1542553"/>
            <a:chOff x="2601467" y="3015995"/>
            <a:chExt cx="9226791" cy="1693952"/>
          </a:xfrm>
        </p:grpSpPr>
        <p:sp>
          <p:nvSpPr>
            <p:cNvPr id="39" name="object 39"/>
            <p:cNvSpPr/>
            <p:nvPr/>
          </p:nvSpPr>
          <p:spPr>
            <a:xfrm>
              <a:off x="10563338" y="3420897"/>
              <a:ext cx="1264920" cy="1289050"/>
            </a:xfrm>
            <a:custGeom>
              <a:avLst/>
              <a:gdLst/>
              <a:ahLst/>
              <a:cxnLst/>
              <a:rect l="l" t="t" r="r" b="b"/>
              <a:pathLst>
                <a:path w="1264920" h="1289050">
                  <a:moveTo>
                    <a:pt x="618257" y="0"/>
                  </a:moveTo>
                  <a:lnTo>
                    <a:pt x="573225" y="2525"/>
                  </a:lnTo>
                  <a:lnTo>
                    <a:pt x="528121" y="8403"/>
                  </a:lnTo>
                  <a:lnTo>
                    <a:pt x="483103" y="17702"/>
                  </a:lnTo>
                  <a:lnTo>
                    <a:pt x="438332" y="30490"/>
                  </a:lnTo>
                  <a:lnTo>
                    <a:pt x="393967" y="46837"/>
                  </a:lnTo>
                  <a:lnTo>
                    <a:pt x="350909" y="66463"/>
                  </a:lnTo>
                  <a:lnTo>
                    <a:pt x="310000" y="88931"/>
                  </a:lnTo>
                  <a:lnTo>
                    <a:pt x="271307" y="114080"/>
                  </a:lnTo>
                  <a:lnTo>
                    <a:pt x="234898" y="141748"/>
                  </a:lnTo>
                  <a:lnTo>
                    <a:pt x="200839" y="171772"/>
                  </a:lnTo>
                  <a:lnTo>
                    <a:pt x="169198" y="203990"/>
                  </a:lnTo>
                  <a:lnTo>
                    <a:pt x="140043" y="238240"/>
                  </a:lnTo>
                  <a:lnTo>
                    <a:pt x="113440" y="274359"/>
                  </a:lnTo>
                  <a:lnTo>
                    <a:pt x="89458" y="312185"/>
                  </a:lnTo>
                  <a:lnTo>
                    <a:pt x="68162" y="351556"/>
                  </a:lnTo>
                  <a:lnTo>
                    <a:pt x="49622" y="392309"/>
                  </a:lnTo>
                  <a:lnTo>
                    <a:pt x="33903" y="434283"/>
                  </a:lnTo>
                  <a:lnTo>
                    <a:pt x="21074" y="477314"/>
                  </a:lnTo>
                  <a:lnTo>
                    <a:pt x="11202" y="521241"/>
                  </a:lnTo>
                  <a:lnTo>
                    <a:pt x="4354" y="565901"/>
                  </a:lnTo>
                  <a:lnTo>
                    <a:pt x="597" y="611132"/>
                  </a:lnTo>
                  <a:lnTo>
                    <a:pt x="0" y="656771"/>
                  </a:lnTo>
                  <a:lnTo>
                    <a:pt x="2628" y="702657"/>
                  </a:lnTo>
                  <a:lnTo>
                    <a:pt x="8549" y="748627"/>
                  </a:lnTo>
                  <a:lnTo>
                    <a:pt x="17832" y="794519"/>
                  </a:lnTo>
                  <a:lnTo>
                    <a:pt x="30542" y="840170"/>
                  </a:lnTo>
                  <a:lnTo>
                    <a:pt x="46749" y="885418"/>
                  </a:lnTo>
                  <a:lnTo>
                    <a:pt x="66151" y="929360"/>
                  </a:lnTo>
                  <a:lnTo>
                    <a:pt x="88336" y="971118"/>
                  </a:lnTo>
                  <a:lnTo>
                    <a:pt x="113143" y="1010624"/>
                  </a:lnTo>
                  <a:lnTo>
                    <a:pt x="140413" y="1047809"/>
                  </a:lnTo>
                  <a:lnTo>
                    <a:pt x="169988" y="1082605"/>
                  </a:lnTo>
                  <a:lnTo>
                    <a:pt x="201707" y="1114943"/>
                  </a:lnTo>
                  <a:lnTo>
                    <a:pt x="235412" y="1144754"/>
                  </a:lnTo>
                  <a:lnTo>
                    <a:pt x="270943" y="1171969"/>
                  </a:lnTo>
                  <a:lnTo>
                    <a:pt x="308141" y="1196519"/>
                  </a:lnTo>
                  <a:lnTo>
                    <a:pt x="346847" y="1218336"/>
                  </a:lnTo>
                  <a:lnTo>
                    <a:pt x="386902" y="1237351"/>
                  </a:lnTo>
                  <a:lnTo>
                    <a:pt x="428146" y="1253495"/>
                  </a:lnTo>
                  <a:lnTo>
                    <a:pt x="470421" y="1266700"/>
                  </a:lnTo>
                  <a:lnTo>
                    <a:pt x="513566" y="1276896"/>
                  </a:lnTo>
                  <a:lnTo>
                    <a:pt x="557424" y="1284014"/>
                  </a:lnTo>
                  <a:lnTo>
                    <a:pt x="601833" y="1287987"/>
                  </a:lnTo>
                  <a:lnTo>
                    <a:pt x="646636" y="1288745"/>
                  </a:lnTo>
                  <a:lnTo>
                    <a:pt x="691674" y="1286220"/>
                  </a:lnTo>
                  <a:lnTo>
                    <a:pt x="736786" y="1280342"/>
                  </a:lnTo>
                  <a:lnTo>
                    <a:pt x="781813" y="1271043"/>
                  </a:lnTo>
                  <a:lnTo>
                    <a:pt x="826597" y="1258255"/>
                  </a:lnTo>
                  <a:lnTo>
                    <a:pt x="870979" y="1241907"/>
                  </a:lnTo>
                  <a:lnTo>
                    <a:pt x="848246" y="1185138"/>
                  </a:lnTo>
                  <a:lnTo>
                    <a:pt x="801970" y="1201867"/>
                  </a:lnTo>
                  <a:lnTo>
                    <a:pt x="754551" y="1214475"/>
                  </a:lnTo>
                  <a:lnTo>
                    <a:pt x="706228" y="1222893"/>
                  </a:lnTo>
                  <a:lnTo>
                    <a:pt x="657238" y="1227048"/>
                  </a:lnTo>
                  <a:lnTo>
                    <a:pt x="610346" y="1227022"/>
                  </a:lnTo>
                  <a:lnTo>
                    <a:pt x="564337" y="1223190"/>
                  </a:lnTo>
                  <a:lnTo>
                    <a:pt x="519364" y="1215697"/>
                  </a:lnTo>
                  <a:lnTo>
                    <a:pt x="475580" y="1204687"/>
                  </a:lnTo>
                  <a:lnTo>
                    <a:pt x="433138" y="1190304"/>
                  </a:lnTo>
                  <a:lnTo>
                    <a:pt x="392192" y="1172691"/>
                  </a:lnTo>
                  <a:lnTo>
                    <a:pt x="352894" y="1151992"/>
                  </a:lnTo>
                  <a:lnTo>
                    <a:pt x="315398" y="1128352"/>
                  </a:lnTo>
                  <a:lnTo>
                    <a:pt x="279857" y="1101914"/>
                  </a:lnTo>
                  <a:lnTo>
                    <a:pt x="246424" y="1072823"/>
                  </a:lnTo>
                  <a:lnTo>
                    <a:pt x="215253" y="1041221"/>
                  </a:lnTo>
                  <a:lnTo>
                    <a:pt x="186495" y="1007254"/>
                  </a:lnTo>
                  <a:lnTo>
                    <a:pt x="160305" y="971065"/>
                  </a:lnTo>
                  <a:lnTo>
                    <a:pt x="136836" y="932797"/>
                  </a:lnTo>
                  <a:lnTo>
                    <a:pt x="116241" y="892596"/>
                  </a:lnTo>
                  <a:lnTo>
                    <a:pt x="98673" y="850604"/>
                  </a:lnTo>
                  <a:lnTo>
                    <a:pt x="84285" y="806966"/>
                  </a:lnTo>
                  <a:lnTo>
                    <a:pt x="73231" y="761826"/>
                  </a:lnTo>
                  <a:lnTo>
                    <a:pt x="65663" y="715327"/>
                  </a:lnTo>
                  <a:lnTo>
                    <a:pt x="61735" y="667613"/>
                  </a:lnTo>
                  <a:lnTo>
                    <a:pt x="61590" y="619746"/>
                  </a:lnTo>
                  <a:lnTo>
                    <a:pt x="65178" y="572792"/>
                  </a:lnTo>
                  <a:lnTo>
                    <a:pt x="72357" y="526909"/>
                  </a:lnTo>
                  <a:lnTo>
                    <a:pt x="82987" y="482251"/>
                  </a:lnTo>
                  <a:lnTo>
                    <a:pt x="96927" y="438976"/>
                  </a:lnTo>
                  <a:lnTo>
                    <a:pt x="114037" y="397238"/>
                  </a:lnTo>
                  <a:lnTo>
                    <a:pt x="134175" y="357194"/>
                  </a:lnTo>
                  <a:lnTo>
                    <a:pt x="157202" y="318999"/>
                  </a:lnTo>
                  <a:lnTo>
                    <a:pt x="182976" y="282811"/>
                  </a:lnTo>
                  <a:lnTo>
                    <a:pt x="211356" y="248783"/>
                  </a:lnTo>
                  <a:lnTo>
                    <a:pt x="242203" y="217073"/>
                  </a:lnTo>
                  <a:lnTo>
                    <a:pt x="275375" y="187837"/>
                  </a:lnTo>
                  <a:lnTo>
                    <a:pt x="310732" y="161230"/>
                  </a:lnTo>
                  <a:lnTo>
                    <a:pt x="348132" y="137408"/>
                  </a:lnTo>
                  <a:lnTo>
                    <a:pt x="387436" y="116527"/>
                  </a:lnTo>
                  <a:lnTo>
                    <a:pt x="428502" y="98743"/>
                  </a:lnTo>
                  <a:lnTo>
                    <a:pt x="471191" y="84212"/>
                  </a:lnTo>
                  <a:lnTo>
                    <a:pt x="515360" y="73090"/>
                  </a:lnTo>
                  <a:lnTo>
                    <a:pt x="560870" y="65533"/>
                  </a:lnTo>
                  <a:lnTo>
                    <a:pt x="607581" y="61696"/>
                  </a:lnTo>
                  <a:lnTo>
                    <a:pt x="654473" y="61723"/>
                  </a:lnTo>
                  <a:lnTo>
                    <a:pt x="700485" y="65555"/>
                  </a:lnTo>
                  <a:lnTo>
                    <a:pt x="745462" y="73047"/>
                  </a:lnTo>
                  <a:lnTo>
                    <a:pt x="789251" y="84058"/>
                  </a:lnTo>
                  <a:lnTo>
                    <a:pt x="831700" y="98441"/>
                  </a:lnTo>
                  <a:lnTo>
                    <a:pt x="872654" y="116054"/>
                  </a:lnTo>
                  <a:lnTo>
                    <a:pt x="911960" y="136753"/>
                  </a:lnTo>
                  <a:lnTo>
                    <a:pt x="949465" y="160393"/>
                  </a:lnTo>
                  <a:lnTo>
                    <a:pt x="985015" y="186830"/>
                  </a:lnTo>
                  <a:lnTo>
                    <a:pt x="1018457" y="215922"/>
                  </a:lnTo>
                  <a:lnTo>
                    <a:pt x="1049638" y="247523"/>
                  </a:lnTo>
                  <a:lnTo>
                    <a:pt x="1078405" y="281491"/>
                  </a:lnTo>
                  <a:lnTo>
                    <a:pt x="1104604" y="317680"/>
                  </a:lnTo>
                  <a:lnTo>
                    <a:pt x="1128081" y="355947"/>
                  </a:lnTo>
                  <a:lnTo>
                    <a:pt x="1148684" y="396149"/>
                  </a:lnTo>
                  <a:lnTo>
                    <a:pt x="1166259" y="438141"/>
                  </a:lnTo>
                  <a:lnTo>
                    <a:pt x="1180652" y="481779"/>
                  </a:lnTo>
                  <a:lnTo>
                    <a:pt x="1191711" y="526919"/>
                  </a:lnTo>
                  <a:lnTo>
                    <a:pt x="1199281" y="573418"/>
                  </a:lnTo>
                  <a:lnTo>
                    <a:pt x="1203211" y="621131"/>
                  </a:lnTo>
                  <a:lnTo>
                    <a:pt x="1264298" y="618591"/>
                  </a:lnTo>
                  <a:lnTo>
                    <a:pt x="1259595" y="563471"/>
                  </a:lnTo>
                  <a:lnTo>
                    <a:pt x="1250296" y="509006"/>
                  </a:lnTo>
                  <a:lnTo>
                    <a:pt x="1236473" y="455517"/>
                  </a:lnTo>
                  <a:lnTo>
                    <a:pt x="1218197" y="403326"/>
                  </a:lnTo>
                  <a:lnTo>
                    <a:pt x="1198793" y="359385"/>
                  </a:lnTo>
                  <a:lnTo>
                    <a:pt x="1176606" y="317627"/>
                  </a:lnTo>
                  <a:lnTo>
                    <a:pt x="1151796" y="278121"/>
                  </a:lnTo>
                  <a:lnTo>
                    <a:pt x="1124521" y="240935"/>
                  </a:lnTo>
                  <a:lnTo>
                    <a:pt x="1094942" y="206139"/>
                  </a:lnTo>
                  <a:lnTo>
                    <a:pt x="1063217" y="173801"/>
                  </a:lnTo>
                  <a:lnTo>
                    <a:pt x="1029507" y="143991"/>
                  </a:lnTo>
                  <a:lnTo>
                    <a:pt x="993970" y="116776"/>
                  </a:lnTo>
                  <a:lnTo>
                    <a:pt x="956766" y="92225"/>
                  </a:lnTo>
                  <a:lnTo>
                    <a:pt x="918055" y="70408"/>
                  </a:lnTo>
                  <a:lnTo>
                    <a:pt x="877995" y="51393"/>
                  </a:lnTo>
                  <a:lnTo>
                    <a:pt x="836747" y="35249"/>
                  </a:lnTo>
                  <a:lnTo>
                    <a:pt x="794470" y="22045"/>
                  </a:lnTo>
                  <a:lnTo>
                    <a:pt x="751323" y="11849"/>
                  </a:lnTo>
                  <a:lnTo>
                    <a:pt x="707465" y="4730"/>
                  </a:lnTo>
                  <a:lnTo>
                    <a:pt x="663057" y="758"/>
                  </a:lnTo>
                  <a:lnTo>
                    <a:pt x="618257" y="0"/>
                  </a:lnTo>
                  <a:close/>
                </a:path>
              </a:pathLst>
            </a:custGeom>
            <a:solidFill>
              <a:srgbClr val="F100C2"/>
            </a:solidFill>
          </p:spPr>
          <p:txBody>
            <a:bodyPr wrap="square" lIns="0" tIns="0" rIns="0" bIns="0" rtlCol="0"/>
            <a:lstStyle/>
            <a:p>
              <a:endParaRPr sz="1639"/>
            </a:p>
          </p:txBody>
        </p:sp>
        <p:sp>
          <p:nvSpPr>
            <p:cNvPr id="40" name="object 40"/>
            <p:cNvSpPr/>
            <p:nvPr/>
          </p:nvSpPr>
          <p:spPr>
            <a:xfrm>
              <a:off x="10563338" y="3420897"/>
              <a:ext cx="1264920" cy="1289050"/>
            </a:xfrm>
            <a:custGeom>
              <a:avLst/>
              <a:gdLst/>
              <a:ahLst/>
              <a:cxnLst/>
              <a:rect l="l" t="t" r="r" b="b"/>
              <a:pathLst>
                <a:path w="1264920" h="1289050">
                  <a:moveTo>
                    <a:pt x="870979" y="1241907"/>
                  </a:moveTo>
                  <a:lnTo>
                    <a:pt x="826597" y="1258255"/>
                  </a:lnTo>
                  <a:lnTo>
                    <a:pt x="781813" y="1271043"/>
                  </a:lnTo>
                  <a:lnTo>
                    <a:pt x="736786" y="1280342"/>
                  </a:lnTo>
                  <a:lnTo>
                    <a:pt x="691674" y="1286220"/>
                  </a:lnTo>
                  <a:lnTo>
                    <a:pt x="646636" y="1288745"/>
                  </a:lnTo>
                  <a:lnTo>
                    <a:pt x="601833" y="1287987"/>
                  </a:lnTo>
                  <a:lnTo>
                    <a:pt x="557424" y="1284014"/>
                  </a:lnTo>
                  <a:lnTo>
                    <a:pt x="513566" y="1276896"/>
                  </a:lnTo>
                  <a:lnTo>
                    <a:pt x="470421" y="1266700"/>
                  </a:lnTo>
                  <a:lnTo>
                    <a:pt x="428146" y="1253495"/>
                  </a:lnTo>
                  <a:lnTo>
                    <a:pt x="386902" y="1237351"/>
                  </a:lnTo>
                  <a:lnTo>
                    <a:pt x="346847" y="1218336"/>
                  </a:lnTo>
                  <a:lnTo>
                    <a:pt x="308141" y="1196519"/>
                  </a:lnTo>
                  <a:lnTo>
                    <a:pt x="270943" y="1171969"/>
                  </a:lnTo>
                  <a:lnTo>
                    <a:pt x="235412" y="1144754"/>
                  </a:lnTo>
                  <a:lnTo>
                    <a:pt x="201707" y="1114943"/>
                  </a:lnTo>
                  <a:lnTo>
                    <a:pt x="169988" y="1082605"/>
                  </a:lnTo>
                  <a:lnTo>
                    <a:pt x="140413" y="1047809"/>
                  </a:lnTo>
                  <a:lnTo>
                    <a:pt x="113143" y="1010624"/>
                  </a:lnTo>
                  <a:lnTo>
                    <a:pt x="88336" y="971118"/>
                  </a:lnTo>
                  <a:lnTo>
                    <a:pt x="66151" y="929360"/>
                  </a:lnTo>
                  <a:lnTo>
                    <a:pt x="46749" y="885418"/>
                  </a:lnTo>
                  <a:lnTo>
                    <a:pt x="30542" y="840170"/>
                  </a:lnTo>
                  <a:lnTo>
                    <a:pt x="17832" y="794519"/>
                  </a:lnTo>
                  <a:lnTo>
                    <a:pt x="8549" y="748627"/>
                  </a:lnTo>
                  <a:lnTo>
                    <a:pt x="2628" y="702657"/>
                  </a:lnTo>
                  <a:lnTo>
                    <a:pt x="0" y="656771"/>
                  </a:lnTo>
                  <a:lnTo>
                    <a:pt x="597" y="611132"/>
                  </a:lnTo>
                  <a:lnTo>
                    <a:pt x="4354" y="565901"/>
                  </a:lnTo>
                  <a:lnTo>
                    <a:pt x="11202" y="521241"/>
                  </a:lnTo>
                  <a:lnTo>
                    <a:pt x="21074" y="477314"/>
                  </a:lnTo>
                  <a:lnTo>
                    <a:pt x="33903" y="434283"/>
                  </a:lnTo>
                  <a:lnTo>
                    <a:pt x="49622" y="392309"/>
                  </a:lnTo>
                  <a:lnTo>
                    <a:pt x="68162" y="351556"/>
                  </a:lnTo>
                  <a:lnTo>
                    <a:pt x="89458" y="312185"/>
                  </a:lnTo>
                  <a:lnTo>
                    <a:pt x="113440" y="274359"/>
                  </a:lnTo>
                  <a:lnTo>
                    <a:pt x="140043" y="238240"/>
                  </a:lnTo>
                  <a:lnTo>
                    <a:pt x="169198" y="203990"/>
                  </a:lnTo>
                  <a:lnTo>
                    <a:pt x="200839" y="171772"/>
                  </a:lnTo>
                  <a:lnTo>
                    <a:pt x="234898" y="141748"/>
                  </a:lnTo>
                  <a:lnTo>
                    <a:pt x="271307" y="114080"/>
                  </a:lnTo>
                  <a:lnTo>
                    <a:pt x="310000" y="88931"/>
                  </a:lnTo>
                  <a:lnTo>
                    <a:pt x="350909" y="66463"/>
                  </a:lnTo>
                  <a:lnTo>
                    <a:pt x="393967" y="46837"/>
                  </a:lnTo>
                  <a:lnTo>
                    <a:pt x="438332" y="30490"/>
                  </a:lnTo>
                  <a:lnTo>
                    <a:pt x="483103" y="17702"/>
                  </a:lnTo>
                  <a:lnTo>
                    <a:pt x="528121" y="8403"/>
                  </a:lnTo>
                  <a:lnTo>
                    <a:pt x="573225" y="2525"/>
                  </a:lnTo>
                  <a:lnTo>
                    <a:pt x="618257" y="0"/>
                  </a:lnTo>
                  <a:lnTo>
                    <a:pt x="663057" y="758"/>
                  </a:lnTo>
                  <a:lnTo>
                    <a:pt x="707465" y="4730"/>
                  </a:lnTo>
                  <a:lnTo>
                    <a:pt x="751323" y="11849"/>
                  </a:lnTo>
                  <a:lnTo>
                    <a:pt x="794470" y="22045"/>
                  </a:lnTo>
                  <a:lnTo>
                    <a:pt x="836747" y="35249"/>
                  </a:lnTo>
                  <a:lnTo>
                    <a:pt x="877995" y="51393"/>
                  </a:lnTo>
                  <a:lnTo>
                    <a:pt x="918055" y="70408"/>
                  </a:lnTo>
                  <a:lnTo>
                    <a:pt x="956766" y="92225"/>
                  </a:lnTo>
                  <a:lnTo>
                    <a:pt x="993970" y="116776"/>
                  </a:lnTo>
                  <a:lnTo>
                    <a:pt x="1029507" y="143991"/>
                  </a:lnTo>
                  <a:lnTo>
                    <a:pt x="1063217" y="173801"/>
                  </a:lnTo>
                  <a:lnTo>
                    <a:pt x="1094942" y="206139"/>
                  </a:lnTo>
                  <a:lnTo>
                    <a:pt x="1124521" y="240935"/>
                  </a:lnTo>
                  <a:lnTo>
                    <a:pt x="1151796" y="278121"/>
                  </a:lnTo>
                  <a:lnTo>
                    <a:pt x="1176606" y="317627"/>
                  </a:lnTo>
                  <a:lnTo>
                    <a:pt x="1198793" y="359385"/>
                  </a:lnTo>
                  <a:lnTo>
                    <a:pt x="1218197" y="403326"/>
                  </a:lnTo>
                  <a:lnTo>
                    <a:pt x="1236473" y="455517"/>
                  </a:lnTo>
                  <a:lnTo>
                    <a:pt x="1250296" y="509006"/>
                  </a:lnTo>
                  <a:lnTo>
                    <a:pt x="1259595" y="563471"/>
                  </a:lnTo>
                  <a:lnTo>
                    <a:pt x="1264298" y="618591"/>
                  </a:lnTo>
                  <a:lnTo>
                    <a:pt x="1203211" y="621131"/>
                  </a:lnTo>
                  <a:lnTo>
                    <a:pt x="1199281" y="573418"/>
                  </a:lnTo>
                  <a:lnTo>
                    <a:pt x="1191711" y="526919"/>
                  </a:lnTo>
                  <a:lnTo>
                    <a:pt x="1180652" y="481779"/>
                  </a:lnTo>
                  <a:lnTo>
                    <a:pt x="1166259" y="438141"/>
                  </a:lnTo>
                  <a:lnTo>
                    <a:pt x="1148684" y="396149"/>
                  </a:lnTo>
                  <a:lnTo>
                    <a:pt x="1128081" y="355947"/>
                  </a:lnTo>
                  <a:lnTo>
                    <a:pt x="1104604" y="317680"/>
                  </a:lnTo>
                  <a:lnTo>
                    <a:pt x="1078405" y="281491"/>
                  </a:lnTo>
                  <a:lnTo>
                    <a:pt x="1049638" y="247523"/>
                  </a:lnTo>
                  <a:lnTo>
                    <a:pt x="1018457" y="215922"/>
                  </a:lnTo>
                  <a:lnTo>
                    <a:pt x="985015" y="186830"/>
                  </a:lnTo>
                  <a:lnTo>
                    <a:pt x="949465" y="160393"/>
                  </a:lnTo>
                  <a:lnTo>
                    <a:pt x="911960" y="136753"/>
                  </a:lnTo>
                  <a:lnTo>
                    <a:pt x="872654" y="116054"/>
                  </a:lnTo>
                  <a:lnTo>
                    <a:pt x="831700" y="98441"/>
                  </a:lnTo>
                  <a:lnTo>
                    <a:pt x="789251" y="84058"/>
                  </a:lnTo>
                  <a:lnTo>
                    <a:pt x="745462" y="73047"/>
                  </a:lnTo>
                  <a:lnTo>
                    <a:pt x="700485" y="65555"/>
                  </a:lnTo>
                  <a:lnTo>
                    <a:pt x="654473" y="61723"/>
                  </a:lnTo>
                  <a:lnTo>
                    <a:pt x="607581" y="61696"/>
                  </a:lnTo>
                  <a:lnTo>
                    <a:pt x="560870" y="65533"/>
                  </a:lnTo>
                  <a:lnTo>
                    <a:pt x="515360" y="73090"/>
                  </a:lnTo>
                  <a:lnTo>
                    <a:pt x="471191" y="84212"/>
                  </a:lnTo>
                  <a:lnTo>
                    <a:pt x="428502" y="98743"/>
                  </a:lnTo>
                  <a:lnTo>
                    <a:pt x="387436" y="116527"/>
                  </a:lnTo>
                  <a:lnTo>
                    <a:pt x="348132" y="137408"/>
                  </a:lnTo>
                  <a:lnTo>
                    <a:pt x="310732" y="161230"/>
                  </a:lnTo>
                  <a:lnTo>
                    <a:pt x="275375" y="187837"/>
                  </a:lnTo>
                  <a:lnTo>
                    <a:pt x="242203" y="217073"/>
                  </a:lnTo>
                  <a:lnTo>
                    <a:pt x="211356" y="248783"/>
                  </a:lnTo>
                  <a:lnTo>
                    <a:pt x="182976" y="282811"/>
                  </a:lnTo>
                  <a:lnTo>
                    <a:pt x="157202" y="318999"/>
                  </a:lnTo>
                  <a:lnTo>
                    <a:pt x="134175" y="357194"/>
                  </a:lnTo>
                  <a:lnTo>
                    <a:pt x="114037" y="397238"/>
                  </a:lnTo>
                  <a:lnTo>
                    <a:pt x="96927" y="438976"/>
                  </a:lnTo>
                  <a:lnTo>
                    <a:pt x="82987" y="482251"/>
                  </a:lnTo>
                  <a:lnTo>
                    <a:pt x="72357" y="526909"/>
                  </a:lnTo>
                  <a:lnTo>
                    <a:pt x="65178" y="572792"/>
                  </a:lnTo>
                  <a:lnTo>
                    <a:pt x="61590" y="619746"/>
                  </a:lnTo>
                  <a:lnTo>
                    <a:pt x="61735" y="667613"/>
                  </a:lnTo>
                  <a:lnTo>
                    <a:pt x="65663" y="715327"/>
                  </a:lnTo>
                  <a:lnTo>
                    <a:pt x="73231" y="761826"/>
                  </a:lnTo>
                  <a:lnTo>
                    <a:pt x="84285" y="806966"/>
                  </a:lnTo>
                  <a:lnTo>
                    <a:pt x="98673" y="850604"/>
                  </a:lnTo>
                  <a:lnTo>
                    <a:pt x="116241" y="892596"/>
                  </a:lnTo>
                  <a:lnTo>
                    <a:pt x="136836" y="932797"/>
                  </a:lnTo>
                  <a:lnTo>
                    <a:pt x="160305" y="971065"/>
                  </a:lnTo>
                  <a:lnTo>
                    <a:pt x="186495" y="1007254"/>
                  </a:lnTo>
                  <a:lnTo>
                    <a:pt x="215253" y="1041221"/>
                  </a:lnTo>
                  <a:lnTo>
                    <a:pt x="246424" y="1072823"/>
                  </a:lnTo>
                  <a:lnTo>
                    <a:pt x="279857" y="1101914"/>
                  </a:lnTo>
                  <a:lnTo>
                    <a:pt x="315398" y="1128352"/>
                  </a:lnTo>
                  <a:lnTo>
                    <a:pt x="352894" y="1151992"/>
                  </a:lnTo>
                  <a:lnTo>
                    <a:pt x="392192" y="1172691"/>
                  </a:lnTo>
                  <a:lnTo>
                    <a:pt x="433138" y="1190304"/>
                  </a:lnTo>
                  <a:lnTo>
                    <a:pt x="475580" y="1204687"/>
                  </a:lnTo>
                  <a:lnTo>
                    <a:pt x="519364" y="1215697"/>
                  </a:lnTo>
                  <a:lnTo>
                    <a:pt x="564337" y="1223190"/>
                  </a:lnTo>
                  <a:lnTo>
                    <a:pt x="610346" y="1227022"/>
                  </a:lnTo>
                  <a:lnTo>
                    <a:pt x="657238" y="1227048"/>
                  </a:lnTo>
                  <a:lnTo>
                    <a:pt x="706228" y="1222893"/>
                  </a:lnTo>
                  <a:lnTo>
                    <a:pt x="754551" y="1214475"/>
                  </a:lnTo>
                  <a:lnTo>
                    <a:pt x="801970" y="1201867"/>
                  </a:lnTo>
                  <a:lnTo>
                    <a:pt x="848246" y="1185138"/>
                  </a:lnTo>
                  <a:lnTo>
                    <a:pt x="870979" y="1241907"/>
                  </a:lnTo>
                  <a:close/>
                </a:path>
              </a:pathLst>
            </a:custGeom>
            <a:ln w="12699">
              <a:solidFill>
                <a:srgbClr val="F100C2"/>
              </a:solidFill>
            </a:ln>
          </p:spPr>
          <p:txBody>
            <a:bodyPr wrap="square" lIns="0" tIns="0" rIns="0" bIns="0" rtlCol="0"/>
            <a:lstStyle/>
            <a:p>
              <a:endParaRPr sz="1639"/>
            </a:p>
          </p:txBody>
        </p:sp>
        <p:sp>
          <p:nvSpPr>
            <p:cNvPr id="43" name="object 43"/>
            <p:cNvSpPr/>
            <p:nvPr/>
          </p:nvSpPr>
          <p:spPr>
            <a:xfrm>
              <a:off x="2702813" y="3228593"/>
              <a:ext cx="0" cy="699135"/>
            </a:xfrm>
            <a:custGeom>
              <a:avLst/>
              <a:gdLst/>
              <a:ahLst/>
              <a:cxnLst/>
              <a:rect l="l" t="t" r="r" b="b"/>
              <a:pathLst>
                <a:path h="699135">
                  <a:moveTo>
                    <a:pt x="0" y="699007"/>
                  </a:moveTo>
                  <a:lnTo>
                    <a:pt x="0" y="0"/>
                  </a:lnTo>
                </a:path>
              </a:pathLst>
            </a:custGeom>
            <a:ln w="28956">
              <a:solidFill>
                <a:srgbClr val="FF5A00"/>
              </a:solidFill>
              <a:prstDash val="sysDash"/>
            </a:ln>
          </p:spPr>
          <p:txBody>
            <a:bodyPr wrap="square" lIns="0" tIns="0" rIns="0" bIns="0" rtlCol="0"/>
            <a:lstStyle/>
            <a:p>
              <a:endParaRPr sz="1639"/>
            </a:p>
          </p:txBody>
        </p:sp>
        <p:pic>
          <p:nvPicPr>
            <p:cNvPr id="44" name="object 44"/>
            <p:cNvPicPr/>
            <p:nvPr/>
          </p:nvPicPr>
          <p:blipFill>
            <a:blip r:embed="rId7" cstate="print"/>
            <a:stretch>
              <a:fillRect/>
            </a:stretch>
          </p:blipFill>
          <p:spPr>
            <a:xfrm>
              <a:off x="2601467" y="3015995"/>
              <a:ext cx="201168" cy="225551"/>
            </a:xfrm>
            <a:prstGeom prst="rect">
              <a:avLst/>
            </a:prstGeom>
          </p:spPr>
        </p:pic>
      </p:grpSp>
      <p:sp>
        <p:nvSpPr>
          <p:cNvPr id="45" name="object 45"/>
          <p:cNvSpPr txBox="1"/>
          <p:nvPr/>
        </p:nvSpPr>
        <p:spPr>
          <a:xfrm>
            <a:off x="8766527" y="1598762"/>
            <a:ext cx="2780300" cy="613125"/>
          </a:xfrm>
          <a:prstGeom prst="rect">
            <a:avLst/>
          </a:prstGeom>
        </p:spPr>
        <p:txBody>
          <a:bodyPr vert="horz" wrap="square" lIns="0" tIns="11565" rIns="0" bIns="0" rtlCol="0">
            <a:spAutoFit/>
          </a:bodyPr>
          <a:lstStyle/>
          <a:p>
            <a:pPr marL="11565" marR="4626" indent="578" algn="ctr">
              <a:spcBef>
                <a:spcPts val="91"/>
              </a:spcBef>
            </a:pPr>
            <a:r>
              <a:rPr lang="en-GB" sz="1275" b="1" spc="-5">
                <a:latin typeface="Arial"/>
                <a:cs typeface="Arial"/>
              </a:rPr>
              <a:t>Syndicate categorisation confirmed ahead of 2023 CPG</a:t>
            </a:r>
          </a:p>
          <a:p>
            <a:pPr marL="11565" marR="4626" indent="578" algn="ctr">
              <a:spcBef>
                <a:spcPts val="91"/>
              </a:spcBef>
            </a:pPr>
            <a:r>
              <a:rPr lang="en-GB" sz="1275" b="1" i="1" spc="-5">
                <a:solidFill>
                  <a:srgbClr val="00B0F0"/>
                </a:solidFill>
                <a:latin typeface="Arial"/>
                <a:cs typeface="Arial"/>
              </a:rPr>
              <a:t>(June)</a:t>
            </a:r>
            <a:endParaRPr lang="en-GB" sz="1275">
              <a:latin typeface="Arial"/>
              <a:cs typeface="Arial"/>
            </a:endParaRPr>
          </a:p>
        </p:txBody>
      </p:sp>
      <p:sp>
        <p:nvSpPr>
          <p:cNvPr id="47" name="object 47"/>
          <p:cNvSpPr txBox="1"/>
          <p:nvPr/>
        </p:nvSpPr>
        <p:spPr>
          <a:xfrm>
            <a:off x="734547" y="5358375"/>
            <a:ext cx="2645476" cy="404093"/>
          </a:xfrm>
          <a:prstGeom prst="rect">
            <a:avLst/>
          </a:prstGeom>
        </p:spPr>
        <p:txBody>
          <a:bodyPr vert="horz" wrap="square" lIns="0" tIns="11565" rIns="0" bIns="0" rtlCol="0">
            <a:spAutoFit/>
          </a:bodyPr>
          <a:lstStyle/>
          <a:p>
            <a:pPr algn="ctr">
              <a:spcBef>
                <a:spcPts val="91"/>
              </a:spcBef>
            </a:pPr>
            <a:r>
              <a:rPr lang="en-GB" sz="1275" b="1">
                <a:cs typeface="Arial"/>
              </a:rPr>
              <a:t>Technical briefings held </a:t>
            </a:r>
            <a:endParaRPr lang="en-GB" sz="1275">
              <a:cs typeface="Arial"/>
            </a:endParaRPr>
          </a:p>
          <a:p>
            <a:pPr algn="ctr">
              <a:lnSpc>
                <a:spcPct val="100000"/>
              </a:lnSpc>
            </a:pPr>
            <a:endParaRPr lang="en-GB" sz="1275" b="1" i="1">
              <a:solidFill>
                <a:srgbClr val="00B0F0"/>
              </a:solidFill>
              <a:cs typeface="Arial"/>
            </a:endParaRPr>
          </a:p>
        </p:txBody>
      </p:sp>
      <p:sp>
        <p:nvSpPr>
          <p:cNvPr id="52" name="object 52"/>
          <p:cNvSpPr txBox="1"/>
          <p:nvPr/>
        </p:nvSpPr>
        <p:spPr>
          <a:xfrm>
            <a:off x="5061438" y="1238278"/>
            <a:ext cx="2215839" cy="600301"/>
          </a:xfrm>
          <a:prstGeom prst="rect">
            <a:avLst/>
          </a:prstGeom>
        </p:spPr>
        <p:txBody>
          <a:bodyPr vert="horz" wrap="square" lIns="0" tIns="11565" rIns="0" bIns="0" rtlCol="0">
            <a:spAutoFit/>
          </a:bodyPr>
          <a:lstStyle/>
          <a:p>
            <a:pPr marL="34694" marR="27755" indent="578" algn="ctr">
              <a:spcBef>
                <a:spcPts val="91"/>
              </a:spcBef>
            </a:pPr>
            <a:r>
              <a:rPr lang="en-GB" sz="1275" b="1" spc="-5">
                <a:latin typeface="Arial"/>
                <a:cs typeface="Arial"/>
              </a:rPr>
              <a:t>Syndicates complete and submit self assessments</a:t>
            </a:r>
            <a:endParaRPr lang="en-GB" sz="1275" i="1">
              <a:latin typeface="Arial"/>
              <a:cs typeface="Arial"/>
            </a:endParaRPr>
          </a:p>
          <a:p>
            <a:pPr marL="1156" algn="ctr"/>
            <a:r>
              <a:rPr lang="en-GB" sz="1275" b="1" i="1" spc="-5">
                <a:solidFill>
                  <a:srgbClr val="2CB9D7"/>
                </a:solidFill>
                <a:latin typeface="Arial"/>
                <a:cs typeface="Arial"/>
              </a:rPr>
              <a:t>(29 April</a:t>
            </a:r>
            <a:r>
              <a:rPr lang="en-GB" sz="1275" b="1" i="1">
                <a:solidFill>
                  <a:srgbClr val="2CB9D7"/>
                </a:solidFill>
                <a:latin typeface="Arial"/>
                <a:cs typeface="Arial"/>
              </a:rPr>
              <a:t>)</a:t>
            </a:r>
            <a:endParaRPr lang="en-GB" sz="1275">
              <a:latin typeface="Arial"/>
              <a:cs typeface="Arial"/>
            </a:endParaRPr>
          </a:p>
        </p:txBody>
      </p:sp>
      <p:grpSp>
        <p:nvGrpSpPr>
          <p:cNvPr id="54" name="object 54"/>
          <p:cNvGrpSpPr/>
          <p:nvPr/>
        </p:nvGrpSpPr>
        <p:grpSpPr>
          <a:xfrm>
            <a:off x="5465948" y="1879068"/>
            <a:ext cx="4356964" cy="3760912"/>
            <a:chOff x="5994660" y="2063495"/>
            <a:chExt cx="4784592" cy="4130038"/>
          </a:xfrm>
        </p:grpSpPr>
        <p:sp>
          <p:nvSpPr>
            <p:cNvPr id="57" name="object 57"/>
            <p:cNvSpPr/>
            <p:nvPr/>
          </p:nvSpPr>
          <p:spPr>
            <a:xfrm>
              <a:off x="6715506" y="2276093"/>
              <a:ext cx="2540" cy="1141730"/>
            </a:xfrm>
            <a:custGeom>
              <a:avLst/>
              <a:gdLst/>
              <a:ahLst/>
              <a:cxnLst/>
              <a:rect l="l" t="t" r="r" b="b"/>
              <a:pathLst>
                <a:path w="2540" h="1141729">
                  <a:moveTo>
                    <a:pt x="0" y="1141729"/>
                  </a:moveTo>
                  <a:lnTo>
                    <a:pt x="2286" y="0"/>
                  </a:lnTo>
                </a:path>
              </a:pathLst>
            </a:custGeom>
            <a:ln w="28956">
              <a:solidFill>
                <a:srgbClr val="78DFC2"/>
              </a:solidFill>
              <a:prstDash val="sysDash"/>
            </a:ln>
          </p:spPr>
          <p:txBody>
            <a:bodyPr wrap="square" lIns="0" tIns="0" rIns="0" bIns="0" rtlCol="0"/>
            <a:lstStyle/>
            <a:p>
              <a:endParaRPr sz="1639"/>
            </a:p>
          </p:txBody>
        </p:sp>
        <p:pic>
          <p:nvPicPr>
            <p:cNvPr id="58" name="object 58"/>
            <p:cNvPicPr/>
            <p:nvPr/>
          </p:nvPicPr>
          <p:blipFill>
            <a:blip r:embed="rId8" cstate="print"/>
            <a:stretch>
              <a:fillRect/>
            </a:stretch>
          </p:blipFill>
          <p:spPr>
            <a:xfrm>
              <a:off x="6615683" y="2063495"/>
              <a:ext cx="201168" cy="225551"/>
            </a:xfrm>
            <a:prstGeom prst="rect">
              <a:avLst/>
            </a:prstGeom>
          </p:spPr>
        </p:pic>
        <p:pic>
          <p:nvPicPr>
            <p:cNvPr id="60" name="object 60"/>
            <p:cNvPicPr/>
            <p:nvPr/>
          </p:nvPicPr>
          <p:blipFill>
            <a:blip r:embed="rId5" cstate="print"/>
            <a:stretch>
              <a:fillRect/>
            </a:stretch>
          </p:blipFill>
          <p:spPr>
            <a:xfrm>
              <a:off x="5994660" y="5955791"/>
              <a:ext cx="213360" cy="237742"/>
            </a:xfrm>
            <a:prstGeom prst="rect">
              <a:avLst/>
            </a:prstGeom>
          </p:spPr>
        </p:pic>
        <p:sp>
          <p:nvSpPr>
            <p:cNvPr id="61" name="object 61"/>
            <p:cNvSpPr/>
            <p:nvPr/>
          </p:nvSpPr>
          <p:spPr>
            <a:xfrm rot="188438" flipH="1">
              <a:off x="10627700" y="4431029"/>
              <a:ext cx="50206" cy="962528"/>
            </a:xfrm>
            <a:custGeom>
              <a:avLst/>
              <a:gdLst/>
              <a:ahLst/>
              <a:cxnLst/>
              <a:rect l="l" t="t" r="r" b="b"/>
              <a:pathLst>
                <a:path w="10159" h="663575">
                  <a:moveTo>
                    <a:pt x="9651" y="0"/>
                  </a:moveTo>
                  <a:lnTo>
                    <a:pt x="0" y="663447"/>
                  </a:lnTo>
                </a:path>
              </a:pathLst>
            </a:custGeom>
            <a:ln w="28956">
              <a:solidFill>
                <a:srgbClr val="F100C2"/>
              </a:solidFill>
              <a:prstDash val="sysDash"/>
            </a:ln>
          </p:spPr>
          <p:txBody>
            <a:bodyPr wrap="square" lIns="0" tIns="0" rIns="0" bIns="0" rtlCol="0"/>
            <a:lstStyle/>
            <a:p>
              <a:endParaRPr sz="1639"/>
            </a:p>
          </p:txBody>
        </p:sp>
        <p:pic>
          <p:nvPicPr>
            <p:cNvPr id="62" name="object 62"/>
            <p:cNvPicPr/>
            <p:nvPr/>
          </p:nvPicPr>
          <p:blipFill>
            <a:blip r:embed="rId9" cstate="print"/>
            <a:stretch>
              <a:fillRect/>
            </a:stretch>
          </p:blipFill>
          <p:spPr>
            <a:xfrm>
              <a:off x="10578084" y="5411892"/>
              <a:ext cx="201168" cy="225552"/>
            </a:xfrm>
            <a:prstGeom prst="rect">
              <a:avLst/>
            </a:prstGeom>
          </p:spPr>
        </p:pic>
      </p:grpSp>
      <p:sp>
        <p:nvSpPr>
          <p:cNvPr id="63" name="object 63"/>
          <p:cNvSpPr txBox="1"/>
          <p:nvPr/>
        </p:nvSpPr>
        <p:spPr>
          <a:xfrm>
            <a:off x="5726593" y="4786741"/>
            <a:ext cx="1469324" cy="1005540"/>
          </a:xfrm>
          <a:prstGeom prst="rect">
            <a:avLst/>
          </a:prstGeom>
        </p:spPr>
        <p:txBody>
          <a:bodyPr vert="horz" wrap="square" lIns="0" tIns="11565" rIns="0" bIns="0" rtlCol="0">
            <a:spAutoFit/>
          </a:bodyPr>
          <a:lstStyle/>
          <a:p>
            <a:pPr algn="ctr">
              <a:spcBef>
                <a:spcPts val="91"/>
              </a:spcBef>
            </a:pPr>
            <a:r>
              <a:rPr lang="en-US" sz="1275" b="1" spc="-5">
                <a:cs typeface="Arial"/>
              </a:rPr>
              <a:t>Ongoing support and engagement via Account Managers </a:t>
            </a:r>
          </a:p>
          <a:p>
            <a:pPr algn="ctr">
              <a:spcBef>
                <a:spcPts val="91"/>
              </a:spcBef>
            </a:pPr>
            <a:endParaRPr lang="en-GB" sz="1275" i="1">
              <a:solidFill>
                <a:srgbClr val="00B0F0"/>
              </a:solidFill>
              <a:latin typeface="Arial"/>
              <a:cs typeface="Arial"/>
            </a:endParaRPr>
          </a:p>
        </p:txBody>
      </p:sp>
      <p:sp>
        <p:nvSpPr>
          <p:cNvPr id="64" name="object 64"/>
          <p:cNvSpPr txBox="1"/>
          <p:nvPr/>
        </p:nvSpPr>
        <p:spPr>
          <a:xfrm>
            <a:off x="4543155" y="5664937"/>
            <a:ext cx="2019814" cy="600301"/>
          </a:xfrm>
          <a:prstGeom prst="rect">
            <a:avLst/>
          </a:prstGeom>
        </p:spPr>
        <p:txBody>
          <a:bodyPr vert="horz" wrap="square" lIns="0" tIns="11565" rIns="0" bIns="0" rtlCol="0">
            <a:spAutoFit/>
          </a:bodyPr>
          <a:lstStyle/>
          <a:p>
            <a:pPr marL="34694" marR="27755" indent="578" algn="ctr">
              <a:spcBef>
                <a:spcPts val="91"/>
              </a:spcBef>
            </a:pPr>
            <a:r>
              <a:rPr lang="en-GB" sz="1275" b="1" spc="-5">
                <a:cs typeface="Arial"/>
              </a:rPr>
              <a:t>Lloyd’s complete assessments of syndicates</a:t>
            </a:r>
          </a:p>
        </p:txBody>
      </p:sp>
      <p:sp>
        <p:nvSpPr>
          <p:cNvPr id="65" name="object 65"/>
          <p:cNvSpPr txBox="1"/>
          <p:nvPr/>
        </p:nvSpPr>
        <p:spPr>
          <a:xfrm>
            <a:off x="8745524" y="5162604"/>
            <a:ext cx="1914457" cy="600301"/>
          </a:xfrm>
          <a:prstGeom prst="rect">
            <a:avLst/>
          </a:prstGeom>
        </p:spPr>
        <p:txBody>
          <a:bodyPr vert="horz" wrap="square" lIns="0" tIns="11565" rIns="0" bIns="0" rtlCol="0">
            <a:spAutoFit/>
          </a:bodyPr>
          <a:lstStyle/>
          <a:p>
            <a:pPr marL="11565" marR="4626" algn="ctr">
              <a:spcBef>
                <a:spcPts val="91"/>
              </a:spcBef>
            </a:pPr>
            <a:r>
              <a:rPr lang="en-US" sz="1275" b="1">
                <a:cs typeface="Arial"/>
              </a:rPr>
              <a:t>Follow-up discussions with syndicates re differences in view</a:t>
            </a:r>
          </a:p>
        </p:txBody>
      </p:sp>
      <p:sp>
        <p:nvSpPr>
          <p:cNvPr id="66" name="object 15">
            <a:extLst>
              <a:ext uri="{FF2B5EF4-FFF2-40B4-BE49-F238E27FC236}">
                <a16:creationId xmlns:a16="http://schemas.microsoft.com/office/drawing/2014/main" id="{E2F1722A-54C7-47BC-9752-F08BE260EA78}"/>
              </a:ext>
            </a:extLst>
          </p:cNvPr>
          <p:cNvSpPr txBox="1"/>
          <p:nvPr/>
        </p:nvSpPr>
        <p:spPr>
          <a:xfrm>
            <a:off x="5644668" y="3402324"/>
            <a:ext cx="902674" cy="572671"/>
          </a:xfrm>
          <a:prstGeom prst="rect">
            <a:avLst/>
          </a:prstGeom>
        </p:spPr>
        <p:txBody>
          <a:bodyPr vert="horz" wrap="square" lIns="0" tIns="12143" rIns="0" bIns="0" rtlCol="0">
            <a:spAutoFit/>
          </a:bodyPr>
          <a:lstStyle/>
          <a:p>
            <a:pPr marL="11565" algn="ctr">
              <a:spcBef>
                <a:spcPts val="96"/>
              </a:spcBef>
            </a:pPr>
            <a:r>
              <a:rPr lang="en-GB" sz="1821" b="1" spc="14">
                <a:latin typeface="Century Gothic"/>
                <a:cs typeface="Century Gothic"/>
              </a:rPr>
              <a:t>Jan - April</a:t>
            </a:r>
            <a:endParaRPr sz="1821">
              <a:latin typeface="Century Gothic"/>
              <a:cs typeface="Century Gothic"/>
            </a:endParaRPr>
          </a:p>
        </p:txBody>
      </p:sp>
      <p:sp>
        <p:nvSpPr>
          <p:cNvPr id="67" name="object 15">
            <a:extLst>
              <a:ext uri="{FF2B5EF4-FFF2-40B4-BE49-F238E27FC236}">
                <a16:creationId xmlns:a16="http://schemas.microsoft.com/office/drawing/2014/main" id="{C561CA67-6BCB-410E-89F7-12ADCFFA52A9}"/>
              </a:ext>
            </a:extLst>
          </p:cNvPr>
          <p:cNvSpPr txBox="1"/>
          <p:nvPr/>
        </p:nvSpPr>
        <p:spPr>
          <a:xfrm>
            <a:off x="9837519" y="3380683"/>
            <a:ext cx="703956" cy="572671"/>
          </a:xfrm>
          <a:prstGeom prst="rect">
            <a:avLst/>
          </a:prstGeom>
        </p:spPr>
        <p:txBody>
          <a:bodyPr vert="horz" wrap="square" lIns="0" tIns="12143" rIns="0" bIns="0" rtlCol="0">
            <a:spAutoFit/>
          </a:bodyPr>
          <a:lstStyle/>
          <a:p>
            <a:pPr marL="11565" algn="ctr">
              <a:spcBef>
                <a:spcPts val="96"/>
              </a:spcBef>
            </a:pPr>
            <a:r>
              <a:rPr lang="en-GB" sz="1821" b="1" spc="14">
                <a:latin typeface="Century Gothic"/>
                <a:cs typeface="Century Gothic"/>
              </a:rPr>
              <a:t>May – June</a:t>
            </a:r>
            <a:endParaRPr sz="1821">
              <a:latin typeface="Century Gothic"/>
              <a:cs typeface="Century Gothic"/>
            </a:endParaRPr>
          </a:p>
        </p:txBody>
      </p:sp>
      <p:sp>
        <p:nvSpPr>
          <p:cNvPr id="68" name="object 25">
            <a:extLst>
              <a:ext uri="{FF2B5EF4-FFF2-40B4-BE49-F238E27FC236}">
                <a16:creationId xmlns:a16="http://schemas.microsoft.com/office/drawing/2014/main" id="{4CC0D35A-E5D7-4F96-8842-524795CAC2AD}"/>
              </a:ext>
            </a:extLst>
          </p:cNvPr>
          <p:cNvSpPr/>
          <p:nvPr/>
        </p:nvSpPr>
        <p:spPr>
          <a:xfrm flipH="1">
            <a:off x="5540775" y="3978102"/>
            <a:ext cx="114289" cy="1445384"/>
          </a:xfrm>
          <a:custGeom>
            <a:avLst/>
            <a:gdLst/>
            <a:ahLst/>
            <a:cxnLst/>
            <a:rect l="l" t="t" r="r" b="b"/>
            <a:pathLst>
              <a:path h="381000">
                <a:moveTo>
                  <a:pt x="0" y="0"/>
                </a:moveTo>
                <a:lnTo>
                  <a:pt x="0" y="380492"/>
                </a:lnTo>
              </a:path>
            </a:pathLst>
          </a:custGeom>
          <a:ln w="28956">
            <a:solidFill>
              <a:srgbClr val="78DFC2"/>
            </a:solidFill>
            <a:prstDash val="sysDash"/>
          </a:ln>
        </p:spPr>
        <p:txBody>
          <a:bodyPr wrap="square" lIns="0" tIns="0" rIns="0" bIns="0" rtlCol="0"/>
          <a:lstStyle/>
          <a:p>
            <a:endParaRPr sz="1639"/>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DF28674-26C0-47FF-A76F-0F2C317E95EC}"/>
              </a:ext>
            </a:extLst>
          </p:cNvPr>
          <p:cNvSpPr>
            <a:spLocks noGrp="1"/>
          </p:cNvSpPr>
          <p:nvPr>
            <p:ph type="title"/>
          </p:nvPr>
        </p:nvSpPr>
        <p:spPr>
          <a:xfrm>
            <a:off x="539999" y="540000"/>
            <a:ext cx="11160000" cy="533205"/>
          </a:xfrm>
        </p:spPr>
        <p:txBody>
          <a:bodyPr/>
          <a:lstStyle/>
          <a:p>
            <a:r>
              <a:rPr lang="en-GB" sz="2800"/>
              <a:t>What should you be doing? </a:t>
            </a:r>
          </a:p>
        </p:txBody>
      </p:sp>
      <p:sp>
        <p:nvSpPr>
          <p:cNvPr id="8" name="Text Placeholder 7">
            <a:extLst>
              <a:ext uri="{FF2B5EF4-FFF2-40B4-BE49-F238E27FC236}">
                <a16:creationId xmlns:a16="http://schemas.microsoft.com/office/drawing/2014/main" id="{48719F51-9177-4C7F-AF36-042627B61315}"/>
              </a:ext>
            </a:extLst>
          </p:cNvPr>
          <p:cNvSpPr>
            <a:spLocks noGrp="1"/>
          </p:cNvSpPr>
          <p:nvPr>
            <p:ph type="body" sz="quarter" idx="17"/>
          </p:nvPr>
        </p:nvSpPr>
        <p:spPr/>
        <p:txBody>
          <a:bodyPr/>
          <a:lstStyle/>
          <a:p>
            <a:endParaRPr lang="en-GB"/>
          </a:p>
        </p:txBody>
      </p:sp>
      <p:sp>
        <p:nvSpPr>
          <p:cNvPr id="4" name="Content Placeholder 3">
            <a:extLst>
              <a:ext uri="{FF2B5EF4-FFF2-40B4-BE49-F238E27FC236}">
                <a16:creationId xmlns:a16="http://schemas.microsoft.com/office/drawing/2014/main" id="{B5473B78-95F2-4C48-B301-98F1E431A58F}"/>
              </a:ext>
            </a:extLst>
          </p:cNvPr>
          <p:cNvSpPr>
            <a:spLocks noGrp="1"/>
          </p:cNvSpPr>
          <p:nvPr>
            <p:ph idx="1"/>
          </p:nvPr>
        </p:nvSpPr>
        <p:spPr/>
        <p:txBody>
          <a:bodyPr vert="horz" lIns="0" tIns="0" rIns="0" bIns="0" rtlCol="0" anchor="t">
            <a:noAutofit/>
          </a:bodyPr>
          <a:lstStyle/>
          <a:p>
            <a:pPr marL="342900" indent="-342900">
              <a:buFont typeface="Arial" panose="020B0604020202020204" pitchFamily="34" charset="0"/>
              <a:buChar char="•"/>
            </a:pPr>
            <a:r>
              <a:rPr lang="en-GB"/>
              <a:t>Familiarise yourself with the Principles and guidance </a:t>
            </a:r>
          </a:p>
          <a:p>
            <a:pPr marL="342900" indent="-342900">
              <a:buFont typeface="Arial" panose="020B0604020202020204" pitchFamily="34" charset="0"/>
              <a:buChar char="•"/>
            </a:pPr>
            <a:r>
              <a:rPr lang="en-GB"/>
              <a:t>Consider any upskilling required to successfully adopt the new Principles based regime </a:t>
            </a:r>
            <a:endParaRPr lang="en-GB">
              <a:cs typeface="Arial"/>
            </a:endParaRPr>
          </a:p>
          <a:p>
            <a:pPr marL="342900" indent="-342900">
              <a:buFont typeface="Arial" panose="020B0604020202020204" pitchFamily="34" charset="0"/>
              <a:buChar char="•"/>
            </a:pPr>
            <a:r>
              <a:rPr lang="en-GB"/>
              <a:t>Review expected maturity as communicated in Oversight Letters</a:t>
            </a:r>
            <a:endParaRPr lang="en-GB">
              <a:cs typeface="Arial"/>
            </a:endParaRPr>
          </a:p>
          <a:p>
            <a:pPr marL="630555" lvl="2" indent="-342900">
              <a:buFont typeface="Arial" panose="020B0604020202020204" pitchFamily="34" charset="0"/>
              <a:buChar char="•"/>
            </a:pPr>
            <a:r>
              <a:rPr lang="en-GB"/>
              <a:t>Speak to your Account Manager if you have any questions </a:t>
            </a:r>
            <a:endParaRPr lang="en-GB">
              <a:cs typeface="Arial"/>
            </a:endParaRPr>
          </a:p>
          <a:p>
            <a:pPr marL="342900" indent="-342900">
              <a:buFont typeface="Arial" panose="020B0604020202020204" pitchFamily="34" charset="0"/>
              <a:buChar char="•"/>
            </a:pPr>
            <a:r>
              <a:rPr lang="en-GB"/>
              <a:t>Conduct the self-assessment – be open, transparent and thorough </a:t>
            </a:r>
            <a:endParaRPr lang="en-GB">
              <a:cs typeface="Arial"/>
            </a:endParaRPr>
          </a:p>
          <a:p>
            <a:pPr marL="630555" lvl="2" indent="-342900">
              <a:buFont typeface="Arial" panose="020B0604020202020204" pitchFamily="34" charset="0"/>
              <a:buChar char="•"/>
            </a:pPr>
            <a:r>
              <a:rPr lang="en-GB"/>
              <a:t>Guidance and templates are now on SecureShare </a:t>
            </a:r>
            <a:endParaRPr lang="en-GB">
              <a:cs typeface="Arial"/>
            </a:endParaRPr>
          </a:p>
          <a:p>
            <a:pPr marL="630555" lvl="2" indent="-342900">
              <a:buFont typeface="Arial" panose="020B0604020202020204" pitchFamily="34" charset="0"/>
              <a:buChar char="•"/>
            </a:pPr>
            <a:r>
              <a:rPr lang="en-GB"/>
              <a:t>Oversight Framework team available to answer any questions</a:t>
            </a:r>
            <a:endParaRPr lang="en-GB">
              <a:cs typeface="Arial"/>
            </a:endParaRPr>
          </a:p>
          <a:p>
            <a:pPr marL="342900" lvl="1" indent="-342900">
              <a:spcBef>
                <a:spcPts val="1800"/>
              </a:spcBef>
              <a:buFont typeface="Arial" panose="020B0604020202020204" pitchFamily="34" charset="0"/>
              <a:buChar char="•"/>
            </a:pPr>
            <a:r>
              <a:rPr lang="en-GB" b="1">
                <a:solidFill>
                  <a:schemeClr val="accent1"/>
                </a:solidFill>
              </a:rPr>
              <a:t>Consider what actions can be taken to close any gaps before mid-year</a:t>
            </a:r>
            <a:endParaRPr lang="en-GB" b="1">
              <a:solidFill>
                <a:schemeClr val="accent1"/>
              </a:solidFill>
              <a:cs typeface="Arial"/>
            </a:endParaRPr>
          </a:p>
          <a:p>
            <a:pPr marL="342900" lvl="1" indent="-342900">
              <a:spcBef>
                <a:spcPts val="1800"/>
              </a:spcBef>
              <a:buFont typeface="Arial" panose="020B0604020202020204" pitchFamily="34" charset="0"/>
              <a:buChar char="•"/>
            </a:pPr>
            <a:r>
              <a:rPr lang="en-GB" b="1">
                <a:solidFill>
                  <a:schemeClr val="accent1"/>
                </a:solidFill>
              </a:rPr>
              <a:t>Questions on the new framework should be directed to your Account Manager or </a:t>
            </a:r>
            <a:r>
              <a:rPr lang="en-GB" b="1" u="sng">
                <a:solidFill>
                  <a:schemeClr val="accent1"/>
                </a:solidFill>
                <a:hlinkClick r:id="rId3">
                  <a:extLst>
                    <a:ext uri="{A12FA001-AC4F-418D-AE19-62706E023703}">
                      <ahyp:hlinkClr xmlns:ahyp="http://schemas.microsoft.com/office/drawing/2018/hyperlinkcolor" val="tx"/>
                    </a:ext>
                  </a:extLst>
                </a:hlinkClick>
              </a:rPr>
              <a:t>oversight.framework@lloyds.com</a:t>
            </a:r>
            <a:r>
              <a:rPr lang="en-GB" b="1">
                <a:solidFill>
                  <a:schemeClr val="accent1"/>
                </a:solidFill>
              </a:rPr>
              <a:t> in the first instance </a:t>
            </a:r>
            <a:r>
              <a:rPr lang="en-US" b="1">
                <a:solidFill>
                  <a:schemeClr val="accent1"/>
                </a:solidFill>
              </a:rPr>
              <a:t>​</a:t>
            </a:r>
            <a:endParaRPr lang="en-US" b="1">
              <a:solidFill>
                <a:schemeClr val="accent1"/>
              </a:solidFill>
              <a:cs typeface="Arial"/>
            </a:endParaRPr>
          </a:p>
          <a:p>
            <a:pPr fontAlgn="base"/>
            <a:r>
              <a:rPr lang="en-GB" b="0"/>
              <a:t>​</a:t>
            </a:r>
          </a:p>
          <a:p>
            <a:pPr fontAlgn="base"/>
            <a:r>
              <a:rPr lang="en-GB" b="0"/>
              <a:t>​</a:t>
            </a:r>
          </a:p>
          <a:p>
            <a:pPr marL="342900" lvl="1" indent="-342900">
              <a:buFont typeface="Arial" panose="020B0604020202020204" pitchFamily="34" charset="0"/>
              <a:buChar char="•"/>
            </a:pPr>
            <a:endParaRPr lang="en-GB"/>
          </a:p>
          <a:p>
            <a:endParaRPr lang="en-GB"/>
          </a:p>
        </p:txBody>
      </p:sp>
      <p:sp>
        <p:nvSpPr>
          <p:cNvPr id="2" name="TextBox 1">
            <a:extLst>
              <a:ext uri="{FF2B5EF4-FFF2-40B4-BE49-F238E27FC236}">
                <a16:creationId xmlns:a16="http://schemas.microsoft.com/office/drawing/2014/main" id="{AC2BA992-D5A5-4553-B142-2022860C967D}"/>
              </a:ext>
            </a:extLst>
          </p:cNvPr>
          <p:cNvSpPr txBox="1"/>
          <p:nvPr/>
        </p:nvSpPr>
        <p:spPr>
          <a:xfrm>
            <a:off x="3082834" y="6149137"/>
            <a:ext cx="5434149" cy="400110"/>
          </a:xfrm>
          <a:prstGeom prst="rect">
            <a:avLst/>
          </a:prstGeom>
          <a:noFill/>
        </p:spPr>
        <p:txBody>
          <a:bodyPr wrap="square" rtlCol="0">
            <a:spAutoFit/>
          </a:bodyPr>
          <a:lstStyle/>
          <a:p>
            <a:pPr algn="l"/>
            <a:r>
              <a:rPr lang="en-GB" sz="2000" b="1">
                <a:solidFill>
                  <a:schemeClr val="accent1"/>
                </a:solidFill>
              </a:rPr>
              <a:t>Do use the support available from Lloyd’s! </a:t>
            </a:r>
          </a:p>
        </p:txBody>
      </p:sp>
    </p:spTree>
    <p:extLst>
      <p:ext uri="{BB962C8B-B14F-4D97-AF65-F5344CB8AC3E}">
        <p14:creationId xmlns:p14="http://schemas.microsoft.com/office/powerpoint/2010/main" val="3126463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A41EC9-AF75-454B-B3AF-DE576E384044}"/>
              </a:ext>
            </a:extLst>
          </p:cNvPr>
          <p:cNvSpPr>
            <a:spLocks noGrp="1"/>
          </p:cNvSpPr>
          <p:nvPr>
            <p:ph type="body" sz="quarter" idx="10"/>
          </p:nvPr>
        </p:nvSpPr>
        <p:spPr>
          <a:xfrm>
            <a:off x="533401" y="1164034"/>
            <a:ext cx="5848350" cy="1454041"/>
          </a:xfrm>
        </p:spPr>
        <p:txBody>
          <a:bodyPr/>
          <a:lstStyle/>
          <a:p>
            <a:r>
              <a:rPr lang="en-GB"/>
              <a:t>Q&amp;A</a:t>
            </a:r>
          </a:p>
          <a:p>
            <a:endParaRPr lang="en-GB"/>
          </a:p>
        </p:txBody>
      </p:sp>
      <p:sp>
        <p:nvSpPr>
          <p:cNvPr id="5" name="Text Placeholder 4">
            <a:extLst>
              <a:ext uri="{FF2B5EF4-FFF2-40B4-BE49-F238E27FC236}">
                <a16:creationId xmlns:a16="http://schemas.microsoft.com/office/drawing/2014/main" id="{908A8602-F6E0-4A28-BB18-6ACBEA8E2D73}"/>
              </a:ext>
            </a:extLst>
          </p:cNvPr>
          <p:cNvSpPr>
            <a:spLocks noGrp="1"/>
          </p:cNvSpPr>
          <p:nvPr>
            <p:ph type="body" sz="quarter" idx="12"/>
          </p:nvPr>
        </p:nvSpPr>
        <p:spPr/>
        <p:txBody>
          <a:bodyPr/>
          <a:lstStyle/>
          <a:p>
            <a:endParaRPr lang="en-GB"/>
          </a:p>
        </p:txBody>
      </p:sp>
    </p:spTree>
    <p:extLst>
      <p:ext uri="{BB962C8B-B14F-4D97-AF65-F5344CB8AC3E}">
        <p14:creationId xmlns:p14="http://schemas.microsoft.com/office/powerpoint/2010/main" val="1277815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ree interlinking elements that work together to support more differentiated and impactful oversight</a:t>
            </a:r>
          </a:p>
        </p:txBody>
      </p:sp>
      <p:sp>
        <p:nvSpPr>
          <p:cNvPr id="31" name="Freeform: Shape 30">
            <a:extLst>
              <a:ext uri="{FF2B5EF4-FFF2-40B4-BE49-F238E27FC236}">
                <a16:creationId xmlns:a16="http://schemas.microsoft.com/office/drawing/2014/main" id="{D3B44ED0-522C-48BD-9CC0-4AEBA773DEE2}"/>
              </a:ext>
            </a:extLst>
          </p:cNvPr>
          <p:cNvSpPr/>
          <p:nvPr/>
        </p:nvSpPr>
        <p:spPr>
          <a:xfrm>
            <a:off x="6165385"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5218153"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7775775"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8255807"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4199143" y="228822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4830942" y="196810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8922141"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10572289"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7104916"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9177535"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7376197"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5016341"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4808277"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21" name="Rectangle 20">
            <a:extLst>
              <a:ext uri="{FF2B5EF4-FFF2-40B4-BE49-F238E27FC236}">
                <a16:creationId xmlns:a16="http://schemas.microsoft.com/office/drawing/2014/main" id="{09DF7DFF-3A3D-493A-92FC-A9FAF3A9ED63}"/>
              </a:ext>
            </a:extLst>
          </p:cNvPr>
          <p:cNvSpPr/>
          <p:nvPr/>
        </p:nvSpPr>
        <p:spPr>
          <a:xfrm>
            <a:off x="423777" y="1587676"/>
            <a:ext cx="1263377" cy="769441"/>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l"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Principles defined across all oversight areas </a:t>
            </a:r>
          </a:p>
        </p:txBody>
      </p:sp>
      <p:grpSp>
        <p:nvGrpSpPr>
          <p:cNvPr id="22" name="Group 21">
            <a:extLst>
              <a:ext uri="{FF2B5EF4-FFF2-40B4-BE49-F238E27FC236}">
                <a16:creationId xmlns:a16="http://schemas.microsoft.com/office/drawing/2014/main" id="{3618CFC6-3D6D-4801-9B46-AF01B66E59DC}"/>
              </a:ext>
            </a:extLst>
          </p:cNvPr>
          <p:cNvGrpSpPr/>
          <p:nvPr/>
        </p:nvGrpSpPr>
        <p:grpSpPr>
          <a:xfrm>
            <a:off x="1666201" y="1634248"/>
            <a:ext cx="2309965" cy="4503690"/>
            <a:chOff x="3842238" y="1607243"/>
            <a:chExt cx="1989144" cy="4444126"/>
          </a:xfrm>
        </p:grpSpPr>
        <p:sp>
          <p:nvSpPr>
            <p:cNvPr id="23" name="Rectangle 22">
              <a:extLst>
                <a:ext uri="{FF2B5EF4-FFF2-40B4-BE49-F238E27FC236}">
                  <a16:creationId xmlns:a16="http://schemas.microsoft.com/office/drawing/2014/main" id="{08EE2572-E01E-4B3D-A467-B3B04F9C4B3C}"/>
                </a:ext>
              </a:extLst>
            </p:cNvPr>
            <p:cNvSpPr/>
            <p:nvPr/>
          </p:nvSpPr>
          <p:spPr>
            <a:xfrm>
              <a:off x="3842238" y="1607243"/>
              <a:ext cx="287458" cy="198188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PERFORMANCE </a:t>
              </a:r>
            </a:p>
            <a:p>
              <a:pPr algn="ctr" defTabSz="356085">
                <a:defRPr/>
              </a:pPr>
              <a:endParaRPr lang="en-GB" sz="800" b="1">
                <a:solidFill>
                  <a:prstClr val="white"/>
                </a:solidFill>
              </a:endParaRPr>
            </a:p>
          </p:txBody>
        </p:sp>
        <p:sp>
          <p:nvSpPr>
            <p:cNvPr id="24" name="Rectangle 23">
              <a:hlinkClick r:id="rId2" action="ppaction://hlinksldjump"/>
              <a:extLst>
                <a:ext uri="{FF2B5EF4-FFF2-40B4-BE49-F238E27FC236}">
                  <a16:creationId xmlns:a16="http://schemas.microsoft.com/office/drawing/2014/main" id="{CB12A4F3-C065-46E7-A1CD-9757024A26AA}"/>
                </a:ext>
              </a:extLst>
            </p:cNvPr>
            <p:cNvSpPr/>
            <p:nvPr/>
          </p:nvSpPr>
          <p:spPr>
            <a:xfrm>
              <a:off x="4156577" y="1943480"/>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2. Catastrophe Exposure</a:t>
              </a:r>
            </a:p>
          </p:txBody>
        </p:sp>
        <p:sp>
          <p:nvSpPr>
            <p:cNvPr id="25" name="Rectangle 24">
              <a:hlinkClick r:id="rId3" action="ppaction://hlinksldjump"/>
              <a:extLst>
                <a:ext uri="{FF2B5EF4-FFF2-40B4-BE49-F238E27FC236}">
                  <a16:creationId xmlns:a16="http://schemas.microsoft.com/office/drawing/2014/main" id="{7F504908-6CD7-4125-AAF4-F4281CD3D947}"/>
                </a:ext>
              </a:extLst>
            </p:cNvPr>
            <p:cNvSpPr/>
            <p:nvPr/>
          </p:nvSpPr>
          <p:spPr>
            <a:xfrm>
              <a:off x="4160974" y="2277338"/>
              <a:ext cx="1666250" cy="301569"/>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3. Outwards Reinsurance </a:t>
              </a:r>
            </a:p>
          </p:txBody>
        </p:sp>
        <p:sp>
          <p:nvSpPr>
            <p:cNvPr id="26" name="Rectangle 25">
              <a:hlinkClick r:id="rId4" action="ppaction://hlinksldjump"/>
              <a:extLst>
                <a:ext uri="{FF2B5EF4-FFF2-40B4-BE49-F238E27FC236}">
                  <a16:creationId xmlns:a16="http://schemas.microsoft.com/office/drawing/2014/main" id="{9377CF63-5CF2-4F34-BA63-B645B4D8C637}"/>
                </a:ext>
              </a:extLst>
            </p:cNvPr>
            <p:cNvSpPr/>
            <p:nvPr/>
          </p:nvSpPr>
          <p:spPr>
            <a:xfrm>
              <a:off x="4160973" y="2607498"/>
              <a:ext cx="1666249" cy="29636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4. Claims Management </a:t>
              </a:r>
            </a:p>
          </p:txBody>
        </p:sp>
        <p:sp>
          <p:nvSpPr>
            <p:cNvPr id="27" name="Rectangle 26">
              <a:hlinkClick r:id="rId5" action="ppaction://hlinksldjump"/>
              <a:extLst>
                <a:ext uri="{FF2B5EF4-FFF2-40B4-BE49-F238E27FC236}">
                  <a16:creationId xmlns:a16="http://schemas.microsoft.com/office/drawing/2014/main" id="{74C91AFA-DF84-4BF6-90E6-5EAFFAA41096}"/>
                </a:ext>
              </a:extLst>
            </p:cNvPr>
            <p:cNvSpPr/>
            <p:nvPr/>
          </p:nvSpPr>
          <p:spPr>
            <a:xfrm>
              <a:off x="4160738" y="2945534"/>
              <a:ext cx="1666248" cy="29321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5. Customer Outcomes </a:t>
              </a:r>
            </a:p>
          </p:txBody>
        </p:sp>
        <p:sp>
          <p:nvSpPr>
            <p:cNvPr id="28" name="Rectangle 27">
              <a:hlinkClick r:id="rId5" action="ppaction://hlinksldjump"/>
              <a:extLst>
                <a:ext uri="{FF2B5EF4-FFF2-40B4-BE49-F238E27FC236}">
                  <a16:creationId xmlns:a16="http://schemas.microsoft.com/office/drawing/2014/main" id="{3205539F-4808-4DA8-8749-32CDD2DECE2F}"/>
                </a:ext>
              </a:extLst>
            </p:cNvPr>
            <p:cNvSpPr/>
            <p:nvPr/>
          </p:nvSpPr>
          <p:spPr>
            <a:xfrm>
              <a:off x="4160973" y="1607244"/>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 Underwriting Profitability </a:t>
              </a:r>
            </a:p>
          </p:txBody>
        </p:sp>
        <p:sp>
          <p:nvSpPr>
            <p:cNvPr id="30" name="Rectangle 29">
              <a:hlinkClick r:id="rId6" action="ppaction://hlinksldjump"/>
              <a:extLst>
                <a:ext uri="{FF2B5EF4-FFF2-40B4-BE49-F238E27FC236}">
                  <a16:creationId xmlns:a16="http://schemas.microsoft.com/office/drawing/2014/main" id="{A0EEFCC8-25D2-491E-907A-560932192214}"/>
                </a:ext>
              </a:extLst>
            </p:cNvPr>
            <p:cNvSpPr/>
            <p:nvPr/>
          </p:nvSpPr>
          <p:spPr>
            <a:xfrm>
              <a:off x="4160738" y="3287572"/>
              <a:ext cx="1666248"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6. Reserving </a:t>
              </a:r>
            </a:p>
          </p:txBody>
        </p:sp>
        <p:sp>
          <p:nvSpPr>
            <p:cNvPr id="45" name="Rectangle 44">
              <a:extLst>
                <a:ext uri="{FF2B5EF4-FFF2-40B4-BE49-F238E27FC236}">
                  <a16:creationId xmlns:a16="http://schemas.microsoft.com/office/drawing/2014/main" id="{4782D176-B652-4185-BFF1-1D52C75BE9D4}"/>
                </a:ext>
              </a:extLst>
            </p:cNvPr>
            <p:cNvSpPr/>
            <p:nvPr/>
          </p:nvSpPr>
          <p:spPr>
            <a:xfrm>
              <a:off x="3842238" y="3650037"/>
              <a:ext cx="287458" cy="97947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SOLVENCY </a:t>
              </a:r>
            </a:p>
          </p:txBody>
        </p:sp>
        <p:sp>
          <p:nvSpPr>
            <p:cNvPr id="46" name="Rectangle 45">
              <a:hlinkClick r:id="rId7" action="ppaction://hlinksldjump"/>
              <a:extLst>
                <a:ext uri="{FF2B5EF4-FFF2-40B4-BE49-F238E27FC236}">
                  <a16:creationId xmlns:a16="http://schemas.microsoft.com/office/drawing/2014/main" id="{406E160B-1E18-46B4-86D2-E420F6757347}"/>
                </a:ext>
              </a:extLst>
            </p:cNvPr>
            <p:cNvSpPr/>
            <p:nvPr/>
          </p:nvSpPr>
          <p:spPr>
            <a:xfrm>
              <a:off x="4160974" y="3988975"/>
              <a:ext cx="1666246"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8. Investment </a:t>
              </a:r>
            </a:p>
          </p:txBody>
        </p:sp>
        <p:sp>
          <p:nvSpPr>
            <p:cNvPr id="47" name="Rectangle 46">
              <a:hlinkClick r:id="rId8" action="ppaction://hlinksldjump"/>
              <a:extLst>
                <a:ext uri="{FF2B5EF4-FFF2-40B4-BE49-F238E27FC236}">
                  <a16:creationId xmlns:a16="http://schemas.microsoft.com/office/drawing/2014/main" id="{680F9EBF-2E9A-4A90-972D-44E2228EE8F5}"/>
                </a:ext>
              </a:extLst>
            </p:cNvPr>
            <p:cNvSpPr/>
            <p:nvPr/>
          </p:nvSpPr>
          <p:spPr>
            <a:xfrm>
              <a:off x="4160973" y="3650037"/>
              <a:ext cx="1666247"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7. Capital </a:t>
              </a:r>
            </a:p>
          </p:txBody>
        </p:sp>
        <p:sp>
          <p:nvSpPr>
            <p:cNvPr id="48" name="Rectangle 47">
              <a:hlinkClick r:id="rId9" action="ppaction://hlinksldjump"/>
              <a:extLst>
                <a:ext uri="{FF2B5EF4-FFF2-40B4-BE49-F238E27FC236}">
                  <a16:creationId xmlns:a16="http://schemas.microsoft.com/office/drawing/2014/main" id="{3263E01B-8F83-42F6-9E37-D4B0BCEA4F9B}"/>
                </a:ext>
              </a:extLst>
            </p:cNvPr>
            <p:cNvSpPr/>
            <p:nvPr/>
          </p:nvSpPr>
          <p:spPr>
            <a:xfrm>
              <a:off x="4160973" y="4327914"/>
              <a:ext cx="1666245"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9. Liquidity </a:t>
              </a:r>
            </a:p>
          </p:txBody>
        </p:sp>
        <p:sp>
          <p:nvSpPr>
            <p:cNvPr id="49" name="Rectangle 48">
              <a:extLst>
                <a:ext uri="{FF2B5EF4-FFF2-40B4-BE49-F238E27FC236}">
                  <a16:creationId xmlns:a16="http://schemas.microsoft.com/office/drawing/2014/main" id="{34EA39C2-B08E-4CAD-BFD8-D8B786D5E485}"/>
                </a:ext>
              </a:extLst>
            </p:cNvPr>
            <p:cNvSpPr/>
            <p:nvPr/>
          </p:nvSpPr>
          <p:spPr>
            <a:xfrm>
              <a:off x="3842238" y="4691822"/>
              <a:ext cx="287458" cy="1359547"/>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OPERATIONAL</a:t>
              </a:r>
            </a:p>
          </p:txBody>
        </p:sp>
        <p:sp>
          <p:nvSpPr>
            <p:cNvPr id="50" name="Rectangle 49">
              <a:hlinkClick r:id="rId10" action="ppaction://hlinksldjump"/>
              <a:extLst>
                <a:ext uri="{FF2B5EF4-FFF2-40B4-BE49-F238E27FC236}">
                  <a16:creationId xmlns:a16="http://schemas.microsoft.com/office/drawing/2014/main" id="{6E08B998-AC42-47FB-8F45-9E0841E5ADF3}"/>
                </a:ext>
              </a:extLst>
            </p:cNvPr>
            <p:cNvSpPr/>
            <p:nvPr/>
          </p:nvSpPr>
          <p:spPr>
            <a:xfrm>
              <a:off x="4156577" y="5047353"/>
              <a:ext cx="1666013"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1. Regulatory and Financial Crime </a:t>
              </a:r>
            </a:p>
          </p:txBody>
        </p:sp>
        <p:sp>
          <p:nvSpPr>
            <p:cNvPr id="51" name="Rectangle 50">
              <a:hlinkClick r:id="rId9" action="ppaction://hlinksldjump"/>
              <a:extLst>
                <a:ext uri="{FF2B5EF4-FFF2-40B4-BE49-F238E27FC236}">
                  <a16:creationId xmlns:a16="http://schemas.microsoft.com/office/drawing/2014/main" id="{656189F3-E108-4530-8372-B4DAE94806BD}"/>
                </a:ext>
              </a:extLst>
            </p:cNvPr>
            <p:cNvSpPr/>
            <p:nvPr/>
          </p:nvSpPr>
          <p:spPr>
            <a:xfrm>
              <a:off x="4163048" y="5409156"/>
              <a:ext cx="1666242"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2. Operational resilience </a:t>
              </a:r>
            </a:p>
          </p:txBody>
        </p:sp>
        <p:sp>
          <p:nvSpPr>
            <p:cNvPr id="52" name="Rectangle 51">
              <a:hlinkClick r:id="" action="ppaction://noaction"/>
              <a:extLst>
                <a:ext uri="{FF2B5EF4-FFF2-40B4-BE49-F238E27FC236}">
                  <a16:creationId xmlns:a16="http://schemas.microsoft.com/office/drawing/2014/main" id="{779B3A22-579D-4561-8693-EBB8773F3085}"/>
                </a:ext>
              </a:extLst>
            </p:cNvPr>
            <p:cNvSpPr/>
            <p:nvPr/>
          </p:nvSpPr>
          <p:spPr>
            <a:xfrm>
              <a:off x="4160974" y="4691822"/>
              <a:ext cx="1666244"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0. Governance, Risk Management and Reporting </a:t>
              </a:r>
            </a:p>
          </p:txBody>
        </p:sp>
        <p:sp>
          <p:nvSpPr>
            <p:cNvPr id="53" name="Rectangle 52">
              <a:hlinkClick r:id="rId11" action="ppaction://hlinksldjump"/>
              <a:extLst>
                <a:ext uri="{FF2B5EF4-FFF2-40B4-BE49-F238E27FC236}">
                  <a16:creationId xmlns:a16="http://schemas.microsoft.com/office/drawing/2014/main" id="{39BA8555-4D23-4A3E-B86C-4DF8C3401B0A}"/>
                </a:ext>
              </a:extLst>
            </p:cNvPr>
            <p:cNvSpPr/>
            <p:nvPr/>
          </p:nvSpPr>
          <p:spPr>
            <a:xfrm>
              <a:off x="4163057" y="5756481"/>
              <a:ext cx="1666241"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3. Culture </a:t>
              </a:r>
            </a:p>
          </p:txBody>
        </p:sp>
      </p:grpSp>
      <p:sp>
        <p:nvSpPr>
          <p:cNvPr id="6" name="Rectangle 5">
            <a:extLst>
              <a:ext uri="{FF2B5EF4-FFF2-40B4-BE49-F238E27FC236}">
                <a16:creationId xmlns:a16="http://schemas.microsoft.com/office/drawing/2014/main" id="{849178CE-EC7E-4239-AD72-892E1DC62604}"/>
              </a:ext>
            </a:extLst>
          </p:cNvPr>
          <p:cNvSpPr/>
          <p:nvPr/>
        </p:nvSpPr>
        <p:spPr>
          <a:xfrm>
            <a:off x="5487571"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14934497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ree interlinking elements that work together to support more differentiated and impactful oversight</a:t>
            </a:r>
          </a:p>
        </p:txBody>
      </p:sp>
      <p:sp>
        <p:nvSpPr>
          <p:cNvPr id="31" name="Freeform: Shape 30">
            <a:extLst>
              <a:ext uri="{FF2B5EF4-FFF2-40B4-BE49-F238E27FC236}">
                <a16:creationId xmlns:a16="http://schemas.microsoft.com/office/drawing/2014/main" id="{D3B44ED0-522C-48BD-9CC0-4AEBA773DEE2}"/>
              </a:ext>
            </a:extLst>
          </p:cNvPr>
          <p:cNvSpPr/>
          <p:nvPr/>
        </p:nvSpPr>
        <p:spPr>
          <a:xfrm>
            <a:off x="6165385"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5218153"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7775775"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8255807"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4199143" y="228822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4830942" y="196810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8922141"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10572289"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7104916"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9177535"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7376197"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5016341"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4808277"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21" name="Rectangle 20">
            <a:extLst>
              <a:ext uri="{FF2B5EF4-FFF2-40B4-BE49-F238E27FC236}">
                <a16:creationId xmlns:a16="http://schemas.microsoft.com/office/drawing/2014/main" id="{09DF7DFF-3A3D-493A-92FC-A9FAF3A9ED63}"/>
              </a:ext>
            </a:extLst>
          </p:cNvPr>
          <p:cNvSpPr/>
          <p:nvPr/>
        </p:nvSpPr>
        <p:spPr>
          <a:xfrm>
            <a:off x="423777" y="1587676"/>
            <a:ext cx="1263377" cy="769441"/>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l"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Principles defined across all oversight areas </a:t>
            </a:r>
          </a:p>
        </p:txBody>
      </p:sp>
      <p:grpSp>
        <p:nvGrpSpPr>
          <p:cNvPr id="22" name="Group 21">
            <a:extLst>
              <a:ext uri="{FF2B5EF4-FFF2-40B4-BE49-F238E27FC236}">
                <a16:creationId xmlns:a16="http://schemas.microsoft.com/office/drawing/2014/main" id="{3618CFC6-3D6D-4801-9B46-AF01B66E59DC}"/>
              </a:ext>
            </a:extLst>
          </p:cNvPr>
          <p:cNvGrpSpPr/>
          <p:nvPr/>
        </p:nvGrpSpPr>
        <p:grpSpPr>
          <a:xfrm>
            <a:off x="1666201" y="1634248"/>
            <a:ext cx="2309965" cy="4503690"/>
            <a:chOff x="3842238" y="1607243"/>
            <a:chExt cx="1989144" cy="4444126"/>
          </a:xfrm>
        </p:grpSpPr>
        <p:sp>
          <p:nvSpPr>
            <p:cNvPr id="23" name="Rectangle 22">
              <a:extLst>
                <a:ext uri="{FF2B5EF4-FFF2-40B4-BE49-F238E27FC236}">
                  <a16:creationId xmlns:a16="http://schemas.microsoft.com/office/drawing/2014/main" id="{08EE2572-E01E-4B3D-A467-B3B04F9C4B3C}"/>
                </a:ext>
              </a:extLst>
            </p:cNvPr>
            <p:cNvSpPr/>
            <p:nvPr/>
          </p:nvSpPr>
          <p:spPr>
            <a:xfrm>
              <a:off x="3842238" y="1607243"/>
              <a:ext cx="287458" cy="198188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PERFORMANCE </a:t>
              </a:r>
            </a:p>
            <a:p>
              <a:pPr algn="ctr" defTabSz="356085">
                <a:defRPr/>
              </a:pPr>
              <a:endParaRPr lang="en-GB" sz="800" b="1">
                <a:solidFill>
                  <a:prstClr val="white"/>
                </a:solidFill>
              </a:endParaRPr>
            </a:p>
          </p:txBody>
        </p:sp>
        <p:sp>
          <p:nvSpPr>
            <p:cNvPr id="24" name="Rectangle 23">
              <a:hlinkClick r:id="rId2" action="ppaction://hlinksldjump"/>
              <a:extLst>
                <a:ext uri="{FF2B5EF4-FFF2-40B4-BE49-F238E27FC236}">
                  <a16:creationId xmlns:a16="http://schemas.microsoft.com/office/drawing/2014/main" id="{CB12A4F3-C065-46E7-A1CD-9757024A26AA}"/>
                </a:ext>
              </a:extLst>
            </p:cNvPr>
            <p:cNvSpPr/>
            <p:nvPr/>
          </p:nvSpPr>
          <p:spPr>
            <a:xfrm>
              <a:off x="4156577" y="1943480"/>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2. Catastrophe Exposure</a:t>
              </a:r>
            </a:p>
          </p:txBody>
        </p:sp>
        <p:sp>
          <p:nvSpPr>
            <p:cNvPr id="25" name="Rectangle 24">
              <a:hlinkClick r:id="rId3" action="ppaction://hlinksldjump"/>
              <a:extLst>
                <a:ext uri="{FF2B5EF4-FFF2-40B4-BE49-F238E27FC236}">
                  <a16:creationId xmlns:a16="http://schemas.microsoft.com/office/drawing/2014/main" id="{7F504908-6CD7-4125-AAF4-F4281CD3D947}"/>
                </a:ext>
              </a:extLst>
            </p:cNvPr>
            <p:cNvSpPr/>
            <p:nvPr/>
          </p:nvSpPr>
          <p:spPr>
            <a:xfrm>
              <a:off x="4160974" y="2277338"/>
              <a:ext cx="1666250" cy="301569"/>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3. Outwards Reinsurance </a:t>
              </a:r>
            </a:p>
          </p:txBody>
        </p:sp>
        <p:sp>
          <p:nvSpPr>
            <p:cNvPr id="26" name="Rectangle 25">
              <a:hlinkClick r:id="rId4" action="ppaction://hlinksldjump"/>
              <a:extLst>
                <a:ext uri="{FF2B5EF4-FFF2-40B4-BE49-F238E27FC236}">
                  <a16:creationId xmlns:a16="http://schemas.microsoft.com/office/drawing/2014/main" id="{9377CF63-5CF2-4F34-BA63-B645B4D8C637}"/>
                </a:ext>
              </a:extLst>
            </p:cNvPr>
            <p:cNvSpPr/>
            <p:nvPr/>
          </p:nvSpPr>
          <p:spPr>
            <a:xfrm>
              <a:off x="4160973" y="2607498"/>
              <a:ext cx="1666249" cy="29636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4. Claims Management </a:t>
              </a:r>
            </a:p>
          </p:txBody>
        </p:sp>
        <p:sp>
          <p:nvSpPr>
            <p:cNvPr id="27" name="Rectangle 26">
              <a:hlinkClick r:id="rId5" action="ppaction://hlinksldjump"/>
              <a:extLst>
                <a:ext uri="{FF2B5EF4-FFF2-40B4-BE49-F238E27FC236}">
                  <a16:creationId xmlns:a16="http://schemas.microsoft.com/office/drawing/2014/main" id="{74C91AFA-DF84-4BF6-90E6-5EAFFAA41096}"/>
                </a:ext>
              </a:extLst>
            </p:cNvPr>
            <p:cNvSpPr/>
            <p:nvPr/>
          </p:nvSpPr>
          <p:spPr>
            <a:xfrm>
              <a:off x="4160738" y="2945534"/>
              <a:ext cx="1666248" cy="29321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5. Customer Outcomes </a:t>
              </a:r>
            </a:p>
          </p:txBody>
        </p:sp>
        <p:sp>
          <p:nvSpPr>
            <p:cNvPr id="28" name="Rectangle 27">
              <a:hlinkClick r:id="rId5" action="ppaction://hlinksldjump"/>
              <a:extLst>
                <a:ext uri="{FF2B5EF4-FFF2-40B4-BE49-F238E27FC236}">
                  <a16:creationId xmlns:a16="http://schemas.microsoft.com/office/drawing/2014/main" id="{3205539F-4808-4DA8-8749-32CDD2DECE2F}"/>
                </a:ext>
              </a:extLst>
            </p:cNvPr>
            <p:cNvSpPr/>
            <p:nvPr/>
          </p:nvSpPr>
          <p:spPr>
            <a:xfrm>
              <a:off x="4160973" y="1607244"/>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 Underwriting Profitability </a:t>
              </a:r>
            </a:p>
          </p:txBody>
        </p:sp>
        <p:sp>
          <p:nvSpPr>
            <p:cNvPr id="30" name="Rectangle 29">
              <a:hlinkClick r:id="rId6" action="ppaction://hlinksldjump"/>
              <a:extLst>
                <a:ext uri="{FF2B5EF4-FFF2-40B4-BE49-F238E27FC236}">
                  <a16:creationId xmlns:a16="http://schemas.microsoft.com/office/drawing/2014/main" id="{A0EEFCC8-25D2-491E-907A-560932192214}"/>
                </a:ext>
              </a:extLst>
            </p:cNvPr>
            <p:cNvSpPr/>
            <p:nvPr/>
          </p:nvSpPr>
          <p:spPr>
            <a:xfrm>
              <a:off x="4160738" y="3287572"/>
              <a:ext cx="1666248"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6. Reserving </a:t>
              </a:r>
            </a:p>
          </p:txBody>
        </p:sp>
        <p:sp>
          <p:nvSpPr>
            <p:cNvPr id="45" name="Rectangle 44">
              <a:extLst>
                <a:ext uri="{FF2B5EF4-FFF2-40B4-BE49-F238E27FC236}">
                  <a16:creationId xmlns:a16="http://schemas.microsoft.com/office/drawing/2014/main" id="{4782D176-B652-4185-BFF1-1D52C75BE9D4}"/>
                </a:ext>
              </a:extLst>
            </p:cNvPr>
            <p:cNvSpPr/>
            <p:nvPr/>
          </p:nvSpPr>
          <p:spPr>
            <a:xfrm>
              <a:off x="3842238" y="3650037"/>
              <a:ext cx="287458" cy="97947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SOLVENCY </a:t>
              </a:r>
            </a:p>
          </p:txBody>
        </p:sp>
        <p:sp>
          <p:nvSpPr>
            <p:cNvPr id="46" name="Rectangle 45">
              <a:hlinkClick r:id="rId7" action="ppaction://hlinksldjump"/>
              <a:extLst>
                <a:ext uri="{FF2B5EF4-FFF2-40B4-BE49-F238E27FC236}">
                  <a16:creationId xmlns:a16="http://schemas.microsoft.com/office/drawing/2014/main" id="{406E160B-1E18-46B4-86D2-E420F6757347}"/>
                </a:ext>
              </a:extLst>
            </p:cNvPr>
            <p:cNvSpPr/>
            <p:nvPr/>
          </p:nvSpPr>
          <p:spPr>
            <a:xfrm>
              <a:off x="4160974" y="3988975"/>
              <a:ext cx="1666246"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8. Investment </a:t>
              </a:r>
            </a:p>
          </p:txBody>
        </p:sp>
        <p:sp>
          <p:nvSpPr>
            <p:cNvPr id="47" name="Rectangle 46">
              <a:hlinkClick r:id="rId8" action="ppaction://hlinksldjump"/>
              <a:extLst>
                <a:ext uri="{FF2B5EF4-FFF2-40B4-BE49-F238E27FC236}">
                  <a16:creationId xmlns:a16="http://schemas.microsoft.com/office/drawing/2014/main" id="{680F9EBF-2E9A-4A90-972D-44E2228EE8F5}"/>
                </a:ext>
              </a:extLst>
            </p:cNvPr>
            <p:cNvSpPr/>
            <p:nvPr/>
          </p:nvSpPr>
          <p:spPr>
            <a:xfrm>
              <a:off x="4160973" y="3650037"/>
              <a:ext cx="1666247"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7. Capital </a:t>
              </a:r>
            </a:p>
          </p:txBody>
        </p:sp>
        <p:sp>
          <p:nvSpPr>
            <p:cNvPr id="48" name="Rectangle 47">
              <a:hlinkClick r:id="rId9" action="ppaction://hlinksldjump"/>
              <a:extLst>
                <a:ext uri="{FF2B5EF4-FFF2-40B4-BE49-F238E27FC236}">
                  <a16:creationId xmlns:a16="http://schemas.microsoft.com/office/drawing/2014/main" id="{3263E01B-8F83-42F6-9E37-D4B0BCEA4F9B}"/>
                </a:ext>
              </a:extLst>
            </p:cNvPr>
            <p:cNvSpPr/>
            <p:nvPr/>
          </p:nvSpPr>
          <p:spPr>
            <a:xfrm>
              <a:off x="4160973" y="4327914"/>
              <a:ext cx="1666245"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9. Liquidity </a:t>
              </a:r>
            </a:p>
          </p:txBody>
        </p:sp>
        <p:sp>
          <p:nvSpPr>
            <p:cNvPr id="49" name="Rectangle 48">
              <a:extLst>
                <a:ext uri="{FF2B5EF4-FFF2-40B4-BE49-F238E27FC236}">
                  <a16:creationId xmlns:a16="http://schemas.microsoft.com/office/drawing/2014/main" id="{34EA39C2-B08E-4CAD-BFD8-D8B786D5E485}"/>
                </a:ext>
              </a:extLst>
            </p:cNvPr>
            <p:cNvSpPr/>
            <p:nvPr/>
          </p:nvSpPr>
          <p:spPr>
            <a:xfrm>
              <a:off x="3842238" y="4691822"/>
              <a:ext cx="287458" cy="1359547"/>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OPERATIONAL</a:t>
              </a:r>
            </a:p>
          </p:txBody>
        </p:sp>
        <p:sp>
          <p:nvSpPr>
            <p:cNvPr id="50" name="Rectangle 49">
              <a:hlinkClick r:id="rId10" action="ppaction://hlinksldjump"/>
              <a:extLst>
                <a:ext uri="{FF2B5EF4-FFF2-40B4-BE49-F238E27FC236}">
                  <a16:creationId xmlns:a16="http://schemas.microsoft.com/office/drawing/2014/main" id="{6E08B998-AC42-47FB-8F45-9E0841E5ADF3}"/>
                </a:ext>
              </a:extLst>
            </p:cNvPr>
            <p:cNvSpPr/>
            <p:nvPr/>
          </p:nvSpPr>
          <p:spPr>
            <a:xfrm>
              <a:off x="4156577" y="5047353"/>
              <a:ext cx="1666013"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1. Regulatory and Financial Crime </a:t>
              </a:r>
            </a:p>
          </p:txBody>
        </p:sp>
        <p:sp>
          <p:nvSpPr>
            <p:cNvPr id="51" name="Rectangle 50">
              <a:hlinkClick r:id="rId9" action="ppaction://hlinksldjump"/>
              <a:extLst>
                <a:ext uri="{FF2B5EF4-FFF2-40B4-BE49-F238E27FC236}">
                  <a16:creationId xmlns:a16="http://schemas.microsoft.com/office/drawing/2014/main" id="{656189F3-E108-4530-8372-B4DAE94806BD}"/>
                </a:ext>
              </a:extLst>
            </p:cNvPr>
            <p:cNvSpPr/>
            <p:nvPr/>
          </p:nvSpPr>
          <p:spPr>
            <a:xfrm>
              <a:off x="4163048" y="5409156"/>
              <a:ext cx="1666242"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2. Operational resilience </a:t>
              </a:r>
            </a:p>
          </p:txBody>
        </p:sp>
        <p:sp>
          <p:nvSpPr>
            <p:cNvPr id="52" name="Rectangle 51">
              <a:hlinkClick r:id="" action="ppaction://noaction"/>
              <a:extLst>
                <a:ext uri="{FF2B5EF4-FFF2-40B4-BE49-F238E27FC236}">
                  <a16:creationId xmlns:a16="http://schemas.microsoft.com/office/drawing/2014/main" id="{779B3A22-579D-4561-8693-EBB8773F3085}"/>
                </a:ext>
              </a:extLst>
            </p:cNvPr>
            <p:cNvSpPr/>
            <p:nvPr/>
          </p:nvSpPr>
          <p:spPr>
            <a:xfrm>
              <a:off x="4160974" y="4691822"/>
              <a:ext cx="1666244"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0. Governance, Risk Management and Reporting </a:t>
              </a:r>
            </a:p>
          </p:txBody>
        </p:sp>
        <p:sp>
          <p:nvSpPr>
            <p:cNvPr id="53" name="Rectangle 52">
              <a:hlinkClick r:id="rId11" action="ppaction://hlinksldjump"/>
              <a:extLst>
                <a:ext uri="{FF2B5EF4-FFF2-40B4-BE49-F238E27FC236}">
                  <a16:creationId xmlns:a16="http://schemas.microsoft.com/office/drawing/2014/main" id="{39BA8555-4D23-4A3E-B86C-4DF8C3401B0A}"/>
                </a:ext>
              </a:extLst>
            </p:cNvPr>
            <p:cNvSpPr/>
            <p:nvPr/>
          </p:nvSpPr>
          <p:spPr>
            <a:xfrm>
              <a:off x="4163057" y="5756481"/>
              <a:ext cx="1666241"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3. Culture </a:t>
              </a:r>
            </a:p>
          </p:txBody>
        </p:sp>
      </p:grpSp>
      <p:sp>
        <p:nvSpPr>
          <p:cNvPr id="6" name="Rectangle 5">
            <a:extLst>
              <a:ext uri="{FF2B5EF4-FFF2-40B4-BE49-F238E27FC236}">
                <a16:creationId xmlns:a16="http://schemas.microsoft.com/office/drawing/2014/main" id="{849178CE-EC7E-4239-AD72-892E1DC62604}"/>
              </a:ext>
            </a:extLst>
          </p:cNvPr>
          <p:cNvSpPr/>
          <p:nvPr/>
        </p:nvSpPr>
        <p:spPr>
          <a:xfrm>
            <a:off x="5487571"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953491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ree interlinking elements that work together to support more differentiated and impactful oversight</a:t>
            </a:r>
          </a:p>
        </p:txBody>
      </p:sp>
      <p:sp>
        <p:nvSpPr>
          <p:cNvPr id="31" name="Freeform: Shape 30">
            <a:extLst>
              <a:ext uri="{FF2B5EF4-FFF2-40B4-BE49-F238E27FC236}">
                <a16:creationId xmlns:a16="http://schemas.microsoft.com/office/drawing/2014/main" id="{D3B44ED0-522C-48BD-9CC0-4AEBA773DEE2}"/>
              </a:ext>
            </a:extLst>
          </p:cNvPr>
          <p:cNvSpPr/>
          <p:nvPr/>
        </p:nvSpPr>
        <p:spPr>
          <a:xfrm>
            <a:off x="6165385"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5218153"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7775775"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8255807"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4199143" y="228822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4830942" y="196810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8922141"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10572289"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7104916"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9177535"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7376197"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5016341"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4808277"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21" name="Rectangle 20">
            <a:extLst>
              <a:ext uri="{FF2B5EF4-FFF2-40B4-BE49-F238E27FC236}">
                <a16:creationId xmlns:a16="http://schemas.microsoft.com/office/drawing/2014/main" id="{09DF7DFF-3A3D-493A-92FC-A9FAF3A9ED63}"/>
              </a:ext>
            </a:extLst>
          </p:cNvPr>
          <p:cNvSpPr/>
          <p:nvPr/>
        </p:nvSpPr>
        <p:spPr>
          <a:xfrm>
            <a:off x="423777" y="1587676"/>
            <a:ext cx="1263377" cy="769441"/>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l"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Principles defined across all oversight areas </a:t>
            </a:r>
          </a:p>
        </p:txBody>
      </p:sp>
      <p:grpSp>
        <p:nvGrpSpPr>
          <p:cNvPr id="22" name="Group 21">
            <a:extLst>
              <a:ext uri="{FF2B5EF4-FFF2-40B4-BE49-F238E27FC236}">
                <a16:creationId xmlns:a16="http://schemas.microsoft.com/office/drawing/2014/main" id="{3618CFC6-3D6D-4801-9B46-AF01B66E59DC}"/>
              </a:ext>
            </a:extLst>
          </p:cNvPr>
          <p:cNvGrpSpPr/>
          <p:nvPr/>
        </p:nvGrpSpPr>
        <p:grpSpPr>
          <a:xfrm>
            <a:off x="1666201" y="1634248"/>
            <a:ext cx="2309965" cy="4503690"/>
            <a:chOff x="3842238" y="1607243"/>
            <a:chExt cx="1989144" cy="4444126"/>
          </a:xfrm>
        </p:grpSpPr>
        <p:sp>
          <p:nvSpPr>
            <p:cNvPr id="23" name="Rectangle 22">
              <a:extLst>
                <a:ext uri="{FF2B5EF4-FFF2-40B4-BE49-F238E27FC236}">
                  <a16:creationId xmlns:a16="http://schemas.microsoft.com/office/drawing/2014/main" id="{08EE2572-E01E-4B3D-A467-B3B04F9C4B3C}"/>
                </a:ext>
              </a:extLst>
            </p:cNvPr>
            <p:cNvSpPr/>
            <p:nvPr/>
          </p:nvSpPr>
          <p:spPr>
            <a:xfrm>
              <a:off x="3842238" y="1607243"/>
              <a:ext cx="287458" cy="198188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PERFORMANCE </a:t>
              </a:r>
            </a:p>
            <a:p>
              <a:pPr algn="ctr" defTabSz="356085">
                <a:defRPr/>
              </a:pPr>
              <a:endParaRPr lang="en-GB" sz="800" b="1">
                <a:solidFill>
                  <a:prstClr val="white"/>
                </a:solidFill>
              </a:endParaRPr>
            </a:p>
          </p:txBody>
        </p:sp>
        <p:sp>
          <p:nvSpPr>
            <p:cNvPr id="24" name="Rectangle 23">
              <a:hlinkClick r:id="rId2" action="ppaction://hlinksldjump"/>
              <a:extLst>
                <a:ext uri="{FF2B5EF4-FFF2-40B4-BE49-F238E27FC236}">
                  <a16:creationId xmlns:a16="http://schemas.microsoft.com/office/drawing/2014/main" id="{CB12A4F3-C065-46E7-A1CD-9757024A26AA}"/>
                </a:ext>
              </a:extLst>
            </p:cNvPr>
            <p:cNvSpPr/>
            <p:nvPr/>
          </p:nvSpPr>
          <p:spPr>
            <a:xfrm>
              <a:off x="4156577" y="1943480"/>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2. Catastrophe Exposure</a:t>
              </a:r>
            </a:p>
          </p:txBody>
        </p:sp>
        <p:sp>
          <p:nvSpPr>
            <p:cNvPr id="25" name="Rectangle 24">
              <a:hlinkClick r:id="rId3" action="ppaction://hlinksldjump"/>
              <a:extLst>
                <a:ext uri="{FF2B5EF4-FFF2-40B4-BE49-F238E27FC236}">
                  <a16:creationId xmlns:a16="http://schemas.microsoft.com/office/drawing/2014/main" id="{7F504908-6CD7-4125-AAF4-F4281CD3D947}"/>
                </a:ext>
              </a:extLst>
            </p:cNvPr>
            <p:cNvSpPr/>
            <p:nvPr/>
          </p:nvSpPr>
          <p:spPr>
            <a:xfrm>
              <a:off x="4160974" y="2277338"/>
              <a:ext cx="1666250" cy="301569"/>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3. Outwards Reinsurance </a:t>
              </a:r>
            </a:p>
          </p:txBody>
        </p:sp>
        <p:sp>
          <p:nvSpPr>
            <p:cNvPr id="26" name="Rectangle 25">
              <a:hlinkClick r:id="rId4" action="ppaction://hlinksldjump"/>
              <a:extLst>
                <a:ext uri="{FF2B5EF4-FFF2-40B4-BE49-F238E27FC236}">
                  <a16:creationId xmlns:a16="http://schemas.microsoft.com/office/drawing/2014/main" id="{9377CF63-5CF2-4F34-BA63-B645B4D8C637}"/>
                </a:ext>
              </a:extLst>
            </p:cNvPr>
            <p:cNvSpPr/>
            <p:nvPr/>
          </p:nvSpPr>
          <p:spPr>
            <a:xfrm>
              <a:off x="4160973" y="2607498"/>
              <a:ext cx="1666249" cy="29636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4. Claims Management </a:t>
              </a:r>
            </a:p>
          </p:txBody>
        </p:sp>
        <p:sp>
          <p:nvSpPr>
            <p:cNvPr id="27" name="Rectangle 26">
              <a:hlinkClick r:id="rId5" action="ppaction://hlinksldjump"/>
              <a:extLst>
                <a:ext uri="{FF2B5EF4-FFF2-40B4-BE49-F238E27FC236}">
                  <a16:creationId xmlns:a16="http://schemas.microsoft.com/office/drawing/2014/main" id="{74C91AFA-DF84-4BF6-90E6-5EAFFAA41096}"/>
                </a:ext>
              </a:extLst>
            </p:cNvPr>
            <p:cNvSpPr/>
            <p:nvPr/>
          </p:nvSpPr>
          <p:spPr>
            <a:xfrm>
              <a:off x="4160738" y="2945534"/>
              <a:ext cx="1666248" cy="29321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5. Customer Outcomes </a:t>
              </a:r>
            </a:p>
          </p:txBody>
        </p:sp>
        <p:sp>
          <p:nvSpPr>
            <p:cNvPr id="28" name="Rectangle 27">
              <a:hlinkClick r:id="rId5" action="ppaction://hlinksldjump"/>
              <a:extLst>
                <a:ext uri="{FF2B5EF4-FFF2-40B4-BE49-F238E27FC236}">
                  <a16:creationId xmlns:a16="http://schemas.microsoft.com/office/drawing/2014/main" id="{3205539F-4808-4DA8-8749-32CDD2DECE2F}"/>
                </a:ext>
              </a:extLst>
            </p:cNvPr>
            <p:cNvSpPr/>
            <p:nvPr/>
          </p:nvSpPr>
          <p:spPr>
            <a:xfrm>
              <a:off x="4160973" y="1607244"/>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 Underwriting Profitability </a:t>
              </a:r>
            </a:p>
          </p:txBody>
        </p:sp>
        <p:sp>
          <p:nvSpPr>
            <p:cNvPr id="30" name="Rectangle 29">
              <a:hlinkClick r:id="rId6" action="ppaction://hlinksldjump"/>
              <a:extLst>
                <a:ext uri="{FF2B5EF4-FFF2-40B4-BE49-F238E27FC236}">
                  <a16:creationId xmlns:a16="http://schemas.microsoft.com/office/drawing/2014/main" id="{A0EEFCC8-25D2-491E-907A-560932192214}"/>
                </a:ext>
              </a:extLst>
            </p:cNvPr>
            <p:cNvSpPr/>
            <p:nvPr/>
          </p:nvSpPr>
          <p:spPr>
            <a:xfrm>
              <a:off x="4160738" y="3287572"/>
              <a:ext cx="1666248"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6. Reserving </a:t>
              </a:r>
            </a:p>
          </p:txBody>
        </p:sp>
        <p:sp>
          <p:nvSpPr>
            <p:cNvPr id="45" name="Rectangle 44">
              <a:extLst>
                <a:ext uri="{FF2B5EF4-FFF2-40B4-BE49-F238E27FC236}">
                  <a16:creationId xmlns:a16="http://schemas.microsoft.com/office/drawing/2014/main" id="{4782D176-B652-4185-BFF1-1D52C75BE9D4}"/>
                </a:ext>
              </a:extLst>
            </p:cNvPr>
            <p:cNvSpPr/>
            <p:nvPr/>
          </p:nvSpPr>
          <p:spPr>
            <a:xfrm>
              <a:off x="3842238" y="3650037"/>
              <a:ext cx="287458" cy="97947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SOLVENCY </a:t>
              </a:r>
            </a:p>
          </p:txBody>
        </p:sp>
        <p:sp>
          <p:nvSpPr>
            <p:cNvPr id="46" name="Rectangle 45">
              <a:hlinkClick r:id="rId7" action="ppaction://hlinksldjump"/>
              <a:extLst>
                <a:ext uri="{FF2B5EF4-FFF2-40B4-BE49-F238E27FC236}">
                  <a16:creationId xmlns:a16="http://schemas.microsoft.com/office/drawing/2014/main" id="{406E160B-1E18-46B4-86D2-E420F6757347}"/>
                </a:ext>
              </a:extLst>
            </p:cNvPr>
            <p:cNvSpPr/>
            <p:nvPr/>
          </p:nvSpPr>
          <p:spPr>
            <a:xfrm>
              <a:off x="4160974" y="3988975"/>
              <a:ext cx="1666246"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8. Investment </a:t>
              </a:r>
            </a:p>
          </p:txBody>
        </p:sp>
        <p:sp>
          <p:nvSpPr>
            <p:cNvPr id="47" name="Rectangle 46">
              <a:hlinkClick r:id="rId8" action="ppaction://hlinksldjump"/>
              <a:extLst>
                <a:ext uri="{FF2B5EF4-FFF2-40B4-BE49-F238E27FC236}">
                  <a16:creationId xmlns:a16="http://schemas.microsoft.com/office/drawing/2014/main" id="{680F9EBF-2E9A-4A90-972D-44E2228EE8F5}"/>
                </a:ext>
              </a:extLst>
            </p:cNvPr>
            <p:cNvSpPr/>
            <p:nvPr/>
          </p:nvSpPr>
          <p:spPr>
            <a:xfrm>
              <a:off x="4160973" y="3650037"/>
              <a:ext cx="1666247"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7. Capital </a:t>
              </a:r>
            </a:p>
          </p:txBody>
        </p:sp>
        <p:sp>
          <p:nvSpPr>
            <p:cNvPr id="48" name="Rectangle 47">
              <a:hlinkClick r:id="rId9" action="ppaction://hlinksldjump"/>
              <a:extLst>
                <a:ext uri="{FF2B5EF4-FFF2-40B4-BE49-F238E27FC236}">
                  <a16:creationId xmlns:a16="http://schemas.microsoft.com/office/drawing/2014/main" id="{3263E01B-8F83-42F6-9E37-D4B0BCEA4F9B}"/>
                </a:ext>
              </a:extLst>
            </p:cNvPr>
            <p:cNvSpPr/>
            <p:nvPr/>
          </p:nvSpPr>
          <p:spPr>
            <a:xfrm>
              <a:off x="4160973" y="4327914"/>
              <a:ext cx="1666245"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9. Liquidity </a:t>
              </a:r>
            </a:p>
          </p:txBody>
        </p:sp>
        <p:sp>
          <p:nvSpPr>
            <p:cNvPr id="49" name="Rectangle 48">
              <a:extLst>
                <a:ext uri="{FF2B5EF4-FFF2-40B4-BE49-F238E27FC236}">
                  <a16:creationId xmlns:a16="http://schemas.microsoft.com/office/drawing/2014/main" id="{34EA39C2-B08E-4CAD-BFD8-D8B786D5E485}"/>
                </a:ext>
              </a:extLst>
            </p:cNvPr>
            <p:cNvSpPr/>
            <p:nvPr/>
          </p:nvSpPr>
          <p:spPr>
            <a:xfrm>
              <a:off x="3842238" y="4691822"/>
              <a:ext cx="287458" cy="1359547"/>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OPERATIONAL</a:t>
              </a:r>
            </a:p>
          </p:txBody>
        </p:sp>
        <p:sp>
          <p:nvSpPr>
            <p:cNvPr id="50" name="Rectangle 49">
              <a:hlinkClick r:id="rId10" action="ppaction://hlinksldjump"/>
              <a:extLst>
                <a:ext uri="{FF2B5EF4-FFF2-40B4-BE49-F238E27FC236}">
                  <a16:creationId xmlns:a16="http://schemas.microsoft.com/office/drawing/2014/main" id="{6E08B998-AC42-47FB-8F45-9E0841E5ADF3}"/>
                </a:ext>
              </a:extLst>
            </p:cNvPr>
            <p:cNvSpPr/>
            <p:nvPr/>
          </p:nvSpPr>
          <p:spPr>
            <a:xfrm>
              <a:off x="4156577" y="5047353"/>
              <a:ext cx="1666013"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1. Regulatory and Financial Crime </a:t>
              </a:r>
            </a:p>
          </p:txBody>
        </p:sp>
        <p:sp>
          <p:nvSpPr>
            <p:cNvPr id="51" name="Rectangle 50">
              <a:hlinkClick r:id="rId9" action="ppaction://hlinksldjump"/>
              <a:extLst>
                <a:ext uri="{FF2B5EF4-FFF2-40B4-BE49-F238E27FC236}">
                  <a16:creationId xmlns:a16="http://schemas.microsoft.com/office/drawing/2014/main" id="{656189F3-E108-4530-8372-B4DAE94806BD}"/>
                </a:ext>
              </a:extLst>
            </p:cNvPr>
            <p:cNvSpPr/>
            <p:nvPr/>
          </p:nvSpPr>
          <p:spPr>
            <a:xfrm>
              <a:off x="4163048" y="5409156"/>
              <a:ext cx="1666242"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2. Operational resilience </a:t>
              </a:r>
            </a:p>
          </p:txBody>
        </p:sp>
        <p:sp>
          <p:nvSpPr>
            <p:cNvPr id="52" name="Rectangle 51">
              <a:hlinkClick r:id="" action="ppaction://noaction"/>
              <a:extLst>
                <a:ext uri="{FF2B5EF4-FFF2-40B4-BE49-F238E27FC236}">
                  <a16:creationId xmlns:a16="http://schemas.microsoft.com/office/drawing/2014/main" id="{779B3A22-579D-4561-8693-EBB8773F3085}"/>
                </a:ext>
              </a:extLst>
            </p:cNvPr>
            <p:cNvSpPr/>
            <p:nvPr/>
          </p:nvSpPr>
          <p:spPr>
            <a:xfrm>
              <a:off x="4160974" y="4691822"/>
              <a:ext cx="1666244"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0. Governance, Risk Management and Reporting </a:t>
              </a:r>
            </a:p>
          </p:txBody>
        </p:sp>
        <p:sp>
          <p:nvSpPr>
            <p:cNvPr id="53" name="Rectangle 52">
              <a:hlinkClick r:id="rId11" action="ppaction://hlinksldjump"/>
              <a:extLst>
                <a:ext uri="{FF2B5EF4-FFF2-40B4-BE49-F238E27FC236}">
                  <a16:creationId xmlns:a16="http://schemas.microsoft.com/office/drawing/2014/main" id="{39BA8555-4D23-4A3E-B86C-4DF8C3401B0A}"/>
                </a:ext>
              </a:extLst>
            </p:cNvPr>
            <p:cNvSpPr/>
            <p:nvPr/>
          </p:nvSpPr>
          <p:spPr>
            <a:xfrm>
              <a:off x="4163057" y="5756481"/>
              <a:ext cx="1666241"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3. Culture </a:t>
              </a:r>
            </a:p>
          </p:txBody>
        </p:sp>
      </p:grpSp>
      <p:sp>
        <p:nvSpPr>
          <p:cNvPr id="6" name="Rectangle 5">
            <a:extLst>
              <a:ext uri="{FF2B5EF4-FFF2-40B4-BE49-F238E27FC236}">
                <a16:creationId xmlns:a16="http://schemas.microsoft.com/office/drawing/2014/main" id="{849178CE-EC7E-4239-AD72-892E1DC62604}"/>
              </a:ext>
            </a:extLst>
          </p:cNvPr>
          <p:cNvSpPr/>
          <p:nvPr/>
        </p:nvSpPr>
        <p:spPr>
          <a:xfrm>
            <a:off x="5487571"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35879975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ree interlinking elements that work together to support more differentiated and impactful oversight</a:t>
            </a:r>
          </a:p>
        </p:txBody>
      </p:sp>
      <p:sp>
        <p:nvSpPr>
          <p:cNvPr id="31" name="Freeform: Shape 30">
            <a:extLst>
              <a:ext uri="{FF2B5EF4-FFF2-40B4-BE49-F238E27FC236}">
                <a16:creationId xmlns:a16="http://schemas.microsoft.com/office/drawing/2014/main" id="{D3B44ED0-522C-48BD-9CC0-4AEBA773DEE2}"/>
              </a:ext>
            </a:extLst>
          </p:cNvPr>
          <p:cNvSpPr/>
          <p:nvPr/>
        </p:nvSpPr>
        <p:spPr>
          <a:xfrm>
            <a:off x="6165385"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5218153"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7775775"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8255807"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4199143" y="228822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4830942" y="196810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8922141"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10572289"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7104916"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ln>
            <a:solidFill>
              <a:schemeClr val="accent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9177535"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7376197"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5016341"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4808277"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21" name="Rectangle 20">
            <a:extLst>
              <a:ext uri="{FF2B5EF4-FFF2-40B4-BE49-F238E27FC236}">
                <a16:creationId xmlns:a16="http://schemas.microsoft.com/office/drawing/2014/main" id="{09DF7DFF-3A3D-493A-92FC-A9FAF3A9ED63}"/>
              </a:ext>
            </a:extLst>
          </p:cNvPr>
          <p:cNvSpPr/>
          <p:nvPr/>
        </p:nvSpPr>
        <p:spPr>
          <a:xfrm>
            <a:off x="423777" y="1587676"/>
            <a:ext cx="1263377" cy="769441"/>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l"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Principles defined across all oversight areas </a:t>
            </a:r>
          </a:p>
        </p:txBody>
      </p:sp>
      <p:grpSp>
        <p:nvGrpSpPr>
          <p:cNvPr id="22" name="Group 21">
            <a:extLst>
              <a:ext uri="{FF2B5EF4-FFF2-40B4-BE49-F238E27FC236}">
                <a16:creationId xmlns:a16="http://schemas.microsoft.com/office/drawing/2014/main" id="{3618CFC6-3D6D-4801-9B46-AF01B66E59DC}"/>
              </a:ext>
            </a:extLst>
          </p:cNvPr>
          <p:cNvGrpSpPr/>
          <p:nvPr/>
        </p:nvGrpSpPr>
        <p:grpSpPr>
          <a:xfrm>
            <a:off x="1666201" y="1634248"/>
            <a:ext cx="2309965" cy="4503690"/>
            <a:chOff x="3842238" y="1607243"/>
            <a:chExt cx="1989144" cy="4444126"/>
          </a:xfrm>
        </p:grpSpPr>
        <p:sp>
          <p:nvSpPr>
            <p:cNvPr id="23" name="Rectangle 22">
              <a:extLst>
                <a:ext uri="{FF2B5EF4-FFF2-40B4-BE49-F238E27FC236}">
                  <a16:creationId xmlns:a16="http://schemas.microsoft.com/office/drawing/2014/main" id="{08EE2572-E01E-4B3D-A467-B3B04F9C4B3C}"/>
                </a:ext>
              </a:extLst>
            </p:cNvPr>
            <p:cNvSpPr/>
            <p:nvPr/>
          </p:nvSpPr>
          <p:spPr>
            <a:xfrm>
              <a:off x="3842238" y="1607243"/>
              <a:ext cx="287458" cy="1981884"/>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PERFORMANCE </a:t>
              </a:r>
            </a:p>
            <a:p>
              <a:pPr algn="ctr" defTabSz="356085">
                <a:defRPr/>
              </a:pPr>
              <a:endParaRPr lang="en-GB" sz="800" b="1">
                <a:solidFill>
                  <a:prstClr val="white"/>
                </a:solidFill>
              </a:endParaRPr>
            </a:p>
          </p:txBody>
        </p:sp>
        <p:sp>
          <p:nvSpPr>
            <p:cNvPr id="24" name="Rectangle 23">
              <a:hlinkClick r:id="rId2" action="ppaction://hlinksldjump"/>
              <a:extLst>
                <a:ext uri="{FF2B5EF4-FFF2-40B4-BE49-F238E27FC236}">
                  <a16:creationId xmlns:a16="http://schemas.microsoft.com/office/drawing/2014/main" id="{CB12A4F3-C065-46E7-A1CD-9757024A26AA}"/>
                </a:ext>
              </a:extLst>
            </p:cNvPr>
            <p:cNvSpPr/>
            <p:nvPr/>
          </p:nvSpPr>
          <p:spPr>
            <a:xfrm>
              <a:off x="4156577" y="1943480"/>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2. Catastrophe Exposure</a:t>
              </a:r>
            </a:p>
          </p:txBody>
        </p:sp>
        <p:sp>
          <p:nvSpPr>
            <p:cNvPr id="25" name="Rectangle 24">
              <a:hlinkClick r:id="rId3" action="ppaction://hlinksldjump"/>
              <a:extLst>
                <a:ext uri="{FF2B5EF4-FFF2-40B4-BE49-F238E27FC236}">
                  <a16:creationId xmlns:a16="http://schemas.microsoft.com/office/drawing/2014/main" id="{7F504908-6CD7-4125-AAF4-F4281CD3D947}"/>
                </a:ext>
              </a:extLst>
            </p:cNvPr>
            <p:cNvSpPr/>
            <p:nvPr/>
          </p:nvSpPr>
          <p:spPr>
            <a:xfrm>
              <a:off x="4160974" y="2277338"/>
              <a:ext cx="1666250" cy="301569"/>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3. Outwards Reinsurance </a:t>
              </a:r>
            </a:p>
          </p:txBody>
        </p:sp>
        <p:sp>
          <p:nvSpPr>
            <p:cNvPr id="26" name="Rectangle 25">
              <a:hlinkClick r:id="rId4" action="ppaction://hlinksldjump"/>
              <a:extLst>
                <a:ext uri="{FF2B5EF4-FFF2-40B4-BE49-F238E27FC236}">
                  <a16:creationId xmlns:a16="http://schemas.microsoft.com/office/drawing/2014/main" id="{9377CF63-5CF2-4F34-BA63-B645B4D8C637}"/>
                </a:ext>
              </a:extLst>
            </p:cNvPr>
            <p:cNvSpPr/>
            <p:nvPr/>
          </p:nvSpPr>
          <p:spPr>
            <a:xfrm>
              <a:off x="4160973" y="2607498"/>
              <a:ext cx="1666249" cy="29636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4. Claims Management </a:t>
              </a:r>
            </a:p>
          </p:txBody>
        </p:sp>
        <p:sp>
          <p:nvSpPr>
            <p:cNvPr id="27" name="Rectangle 26">
              <a:hlinkClick r:id="rId5" action="ppaction://hlinksldjump"/>
              <a:extLst>
                <a:ext uri="{FF2B5EF4-FFF2-40B4-BE49-F238E27FC236}">
                  <a16:creationId xmlns:a16="http://schemas.microsoft.com/office/drawing/2014/main" id="{74C91AFA-DF84-4BF6-90E6-5EAFFAA41096}"/>
                </a:ext>
              </a:extLst>
            </p:cNvPr>
            <p:cNvSpPr/>
            <p:nvPr/>
          </p:nvSpPr>
          <p:spPr>
            <a:xfrm>
              <a:off x="4160738" y="2945534"/>
              <a:ext cx="1666248" cy="293211"/>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5. Customer Outcomes </a:t>
              </a:r>
            </a:p>
          </p:txBody>
        </p:sp>
        <p:sp>
          <p:nvSpPr>
            <p:cNvPr id="28" name="Rectangle 27">
              <a:hlinkClick r:id="rId5" action="ppaction://hlinksldjump"/>
              <a:extLst>
                <a:ext uri="{FF2B5EF4-FFF2-40B4-BE49-F238E27FC236}">
                  <a16:creationId xmlns:a16="http://schemas.microsoft.com/office/drawing/2014/main" id="{3205539F-4808-4DA8-8749-32CDD2DECE2F}"/>
                </a:ext>
              </a:extLst>
            </p:cNvPr>
            <p:cNvSpPr/>
            <p:nvPr/>
          </p:nvSpPr>
          <p:spPr>
            <a:xfrm>
              <a:off x="4160973" y="1607244"/>
              <a:ext cx="1670409"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 Underwriting Profitability </a:t>
              </a:r>
            </a:p>
          </p:txBody>
        </p:sp>
        <p:sp>
          <p:nvSpPr>
            <p:cNvPr id="30" name="Rectangle 29">
              <a:hlinkClick r:id="rId6" action="ppaction://hlinksldjump"/>
              <a:extLst>
                <a:ext uri="{FF2B5EF4-FFF2-40B4-BE49-F238E27FC236}">
                  <a16:creationId xmlns:a16="http://schemas.microsoft.com/office/drawing/2014/main" id="{A0EEFCC8-25D2-491E-907A-560932192214}"/>
                </a:ext>
              </a:extLst>
            </p:cNvPr>
            <p:cNvSpPr/>
            <p:nvPr/>
          </p:nvSpPr>
          <p:spPr>
            <a:xfrm>
              <a:off x="4160738" y="3287572"/>
              <a:ext cx="1666248" cy="301554"/>
            </a:xfrm>
            <a:prstGeom prst="rect">
              <a:avLst/>
            </a:prstGeom>
            <a:solidFill>
              <a:schemeClr val="accent2">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6. Reserving </a:t>
              </a:r>
            </a:p>
          </p:txBody>
        </p:sp>
        <p:sp>
          <p:nvSpPr>
            <p:cNvPr id="45" name="Rectangle 44">
              <a:extLst>
                <a:ext uri="{FF2B5EF4-FFF2-40B4-BE49-F238E27FC236}">
                  <a16:creationId xmlns:a16="http://schemas.microsoft.com/office/drawing/2014/main" id="{4782D176-B652-4185-BFF1-1D52C75BE9D4}"/>
                </a:ext>
              </a:extLst>
            </p:cNvPr>
            <p:cNvSpPr/>
            <p:nvPr/>
          </p:nvSpPr>
          <p:spPr>
            <a:xfrm>
              <a:off x="3842238" y="3650037"/>
              <a:ext cx="287458" cy="97947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SOLVENCY </a:t>
              </a:r>
            </a:p>
          </p:txBody>
        </p:sp>
        <p:sp>
          <p:nvSpPr>
            <p:cNvPr id="46" name="Rectangle 45">
              <a:hlinkClick r:id="rId7" action="ppaction://hlinksldjump"/>
              <a:extLst>
                <a:ext uri="{FF2B5EF4-FFF2-40B4-BE49-F238E27FC236}">
                  <a16:creationId xmlns:a16="http://schemas.microsoft.com/office/drawing/2014/main" id="{406E160B-1E18-46B4-86D2-E420F6757347}"/>
                </a:ext>
              </a:extLst>
            </p:cNvPr>
            <p:cNvSpPr/>
            <p:nvPr/>
          </p:nvSpPr>
          <p:spPr>
            <a:xfrm>
              <a:off x="4160974" y="3988975"/>
              <a:ext cx="1666246"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8. Investment </a:t>
              </a:r>
            </a:p>
          </p:txBody>
        </p:sp>
        <p:sp>
          <p:nvSpPr>
            <p:cNvPr id="47" name="Rectangle 46">
              <a:hlinkClick r:id="rId8" action="ppaction://hlinksldjump"/>
              <a:extLst>
                <a:ext uri="{FF2B5EF4-FFF2-40B4-BE49-F238E27FC236}">
                  <a16:creationId xmlns:a16="http://schemas.microsoft.com/office/drawing/2014/main" id="{680F9EBF-2E9A-4A90-972D-44E2228EE8F5}"/>
                </a:ext>
              </a:extLst>
            </p:cNvPr>
            <p:cNvSpPr/>
            <p:nvPr/>
          </p:nvSpPr>
          <p:spPr>
            <a:xfrm>
              <a:off x="4160973" y="3650037"/>
              <a:ext cx="1666247"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7. Capital </a:t>
              </a:r>
            </a:p>
          </p:txBody>
        </p:sp>
        <p:sp>
          <p:nvSpPr>
            <p:cNvPr id="48" name="Rectangle 47">
              <a:hlinkClick r:id="rId9" action="ppaction://hlinksldjump"/>
              <a:extLst>
                <a:ext uri="{FF2B5EF4-FFF2-40B4-BE49-F238E27FC236}">
                  <a16:creationId xmlns:a16="http://schemas.microsoft.com/office/drawing/2014/main" id="{3263E01B-8F83-42F6-9E37-D4B0BCEA4F9B}"/>
                </a:ext>
              </a:extLst>
            </p:cNvPr>
            <p:cNvSpPr/>
            <p:nvPr/>
          </p:nvSpPr>
          <p:spPr>
            <a:xfrm>
              <a:off x="4160973" y="4327914"/>
              <a:ext cx="1666245" cy="301554"/>
            </a:xfrm>
            <a:prstGeom prst="rect">
              <a:avLst/>
            </a:prstGeom>
            <a:solidFill>
              <a:srgbClr val="7FE5DA"/>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9. Liquidity </a:t>
              </a:r>
            </a:p>
          </p:txBody>
        </p:sp>
        <p:sp>
          <p:nvSpPr>
            <p:cNvPr id="49" name="Rectangle 48">
              <a:extLst>
                <a:ext uri="{FF2B5EF4-FFF2-40B4-BE49-F238E27FC236}">
                  <a16:creationId xmlns:a16="http://schemas.microsoft.com/office/drawing/2014/main" id="{34EA39C2-B08E-4CAD-BFD8-D8B786D5E485}"/>
                </a:ext>
              </a:extLst>
            </p:cNvPr>
            <p:cNvSpPr/>
            <p:nvPr/>
          </p:nvSpPr>
          <p:spPr>
            <a:xfrm>
              <a:off x="3842238" y="4691822"/>
              <a:ext cx="287458" cy="1359547"/>
            </a:xfrm>
            <a:prstGeom prst="re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t">
              <a:noAutofit/>
            </a:bodyPr>
            <a:lstStyle/>
            <a:p>
              <a:pPr algn="ctr" defTabSz="356085">
                <a:defRPr/>
              </a:pPr>
              <a:r>
                <a:rPr lang="en-GB" sz="800" b="1">
                  <a:solidFill>
                    <a:prstClr val="white"/>
                  </a:solidFill>
                </a:rPr>
                <a:t>OPERATIONAL</a:t>
              </a:r>
            </a:p>
          </p:txBody>
        </p:sp>
        <p:sp>
          <p:nvSpPr>
            <p:cNvPr id="50" name="Rectangle 49">
              <a:hlinkClick r:id="rId10" action="ppaction://hlinksldjump"/>
              <a:extLst>
                <a:ext uri="{FF2B5EF4-FFF2-40B4-BE49-F238E27FC236}">
                  <a16:creationId xmlns:a16="http://schemas.microsoft.com/office/drawing/2014/main" id="{6E08B998-AC42-47FB-8F45-9E0841E5ADF3}"/>
                </a:ext>
              </a:extLst>
            </p:cNvPr>
            <p:cNvSpPr/>
            <p:nvPr/>
          </p:nvSpPr>
          <p:spPr>
            <a:xfrm>
              <a:off x="4156577" y="5047353"/>
              <a:ext cx="1666013"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1. Regulatory and Financial Crime </a:t>
              </a:r>
            </a:p>
          </p:txBody>
        </p:sp>
        <p:sp>
          <p:nvSpPr>
            <p:cNvPr id="51" name="Rectangle 50">
              <a:hlinkClick r:id="rId9" action="ppaction://hlinksldjump"/>
              <a:extLst>
                <a:ext uri="{FF2B5EF4-FFF2-40B4-BE49-F238E27FC236}">
                  <a16:creationId xmlns:a16="http://schemas.microsoft.com/office/drawing/2014/main" id="{656189F3-E108-4530-8372-B4DAE94806BD}"/>
                </a:ext>
              </a:extLst>
            </p:cNvPr>
            <p:cNvSpPr/>
            <p:nvPr/>
          </p:nvSpPr>
          <p:spPr>
            <a:xfrm>
              <a:off x="4163048" y="5409156"/>
              <a:ext cx="1666242"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2. Operational resilience </a:t>
              </a:r>
            </a:p>
          </p:txBody>
        </p:sp>
        <p:sp>
          <p:nvSpPr>
            <p:cNvPr id="52" name="Rectangle 51">
              <a:hlinkClick r:id="" action="ppaction://noaction"/>
              <a:extLst>
                <a:ext uri="{FF2B5EF4-FFF2-40B4-BE49-F238E27FC236}">
                  <a16:creationId xmlns:a16="http://schemas.microsoft.com/office/drawing/2014/main" id="{779B3A22-579D-4561-8693-EBB8773F3085}"/>
                </a:ext>
              </a:extLst>
            </p:cNvPr>
            <p:cNvSpPr/>
            <p:nvPr/>
          </p:nvSpPr>
          <p:spPr>
            <a:xfrm>
              <a:off x="4160974" y="4691822"/>
              <a:ext cx="1666244" cy="313969"/>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0. Governance, Risk Management and Reporting </a:t>
              </a:r>
            </a:p>
          </p:txBody>
        </p:sp>
        <p:sp>
          <p:nvSpPr>
            <p:cNvPr id="53" name="Rectangle 52">
              <a:hlinkClick r:id="rId11" action="ppaction://hlinksldjump"/>
              <a:extLst>
                <a:ext uri="{FF2B5EF4-FFF2-40B4-BE49-F238E27FC236}">
                  <a16:creationId xmlns:a16="http://schemas.microsoft.com/office/drawing/2014/main" id="{39BA8555-4D23-4A3E-B86C-4DF8C3401B0A}"/>
                </a:ext>
              </a:extLst>
            </p:cNvPr>
            <p:cNvSpPr/>
            <p:nvPr/>
          </p:nvSpPr>
          <p:spPr>
            <a:xfrm>
              <a:off x="4163057" y="5756481"/>
              <a:ext cx="1666241" cy="294888"/>
            </a:xfrm>
            <a:prstGeom prst="rect">
              <a:avLst/>
            </a:prstGeom>
            <a:solidFill>
              <a:schemeClr val="accent6">
                <a:lumMod val="40000"/>
                <a:lumOff val="60000"/>
              </a:schemeClr>
            </a:solidFill>
            <a:ln w="12700">
              <a:noFill/>
            </a:ln>
          </p:spPr>
          <p:style>
            <a:lnRef idx="2">
              <a:schemeClr val="accent1"/>
            </a:lnRef>
            <a:fillRef idx="1">
              <a:schemeClr val="lt1"/>
            </a:fillRef>
            <a:effectRef idx="0">
              <a:schemeClr val="accent1"/>
            </a:effectRef>
            <a:fontRef idx="minor">
              <a:schemeClr val="dk1"/>
            </a:fontRef>
          </p:style>
          <p:txBody>
            <a:bodyPr wrap="square" lIns="62308" tIns="32400" rIns="62308" bIns="32400" rtlCol="0" anchor="ctr">
              <a:noAutofit/>
            </a:bodyPr>
            <a:lstStyle/>
            <a:p>
              <a:pPr>
                <a:spcAft>
                  <a:spcPts val="415"/>
                </a:spcAft>
              </a:pPr>
              <a:r>
                <a:rPr lang="en-GB" sz="800" b="1">
                  <a:solidFill>
                    <a:schemeClr val="tx1"/>
                  </a:solidFill>
                  <a:ea typeface="+mn-lt"/>
                  <a:cs typeface="+mn-lt"/>
                </a:rPr>
                <a:t>13. Culture </a:t>
              </a:r>
            </a:p>
          </p:txBody>
        </p:sp>
      </p:grpSp>
      <p:sp>
        <p:nvSpPr>
          <p:cNvPr id="6" name="Rectangle 5">
            <a:extLst>
              <a:ext uri="{FF2B5EF4-FFF2-40B4-BE49-F238E27FC236}">
                <a16:creationId xmlns:a16="http://schemas.microsoft.com/office/drawing/2014/main" id="{849178CE-EC7E-4239-AD72-892E1DC62604}"/>
              </a:ext>
            </a:extLst>
          </p:cNvPr>
          <p:cNvSpPr/>
          <p:nvPr/>
        </p:nvSpPr>
        <p:spPr>
          <a:xfrm>
            <a:off x="5487571"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3711055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88838-EABD-4877-8D8A-EBEB739AD65C}"/>
              </a:ext>
            </a:extLst>
          </p:cNvPr>
          <p:cNvSpPr>
            <a:spLocks noGrp="1"/>
          </p:cNvSpPr>
          <p:nvPr>
            <p:ph type="title"/>
          </p:nvPr>
        </p:nvSpPr>
        <p:spPr/>
        <p:txBody>
          <a:bodyPr/>
          <a:lstStyle/>
          <a:p>
            <a:r>
              <a:rPr lang="en-GB"/>
              <a:t>Oversight Framework</a:t>
            </a:r>
          </a:p>
        </p:txBody>
      </p:sp>
      <p:sp>
        <p:nvSpPr>
          <p:cNvPr id="4" name="Text Placeholder 3">
            <a:extLst>
              <a:ext uri="{FF2B5EF4-FFF2-40B4-BE49-F238E27FC236}">
                <a16:creationId xmlns:a16="http://schemas.microsoft.com/office/drawing/2014/main" id="{A57C71AA-A087-46B2-8B20-C664A70EC9E4}"/>
              </a:ext>
            </a:extLst>
          </p:cNvPr>
          <p:cNvSpPr>
            <a:spLocks noGrp="1"/>
          </p:cNvSpPr>
          <p:nvPr>
            <p:ph type="body" sz="quarter" idx="17"/>
          </p:nvPr>
        </p:nvSpPr>
        <p:spPr>
          <a:xfrm>
            <a:off x="533400" y="1100138"/>
            <a:ext cx="11160125" cy="276999"/>
          </a:xfrm>
        </p:spPr>
        <p:txBody>
          <a:bodyPr/>
          <a:lstStyle/>
          <a:p>
            <a:r>
              <a:rPr lang="en-GB" sz="1800">
                <a:solidFill>
                  <a:schemeClr val="accent3"/>
                </a:solidFill>
              </a:rPr>
              <a:t>The Lloyd’s Principles</a:t>
            </a:r>
            <a:endParaRPr lang="en-GB" sz="1800"/>
          </a:p>
        </p:txBody>
      </p:sp>
      <p:sp>
        <p:nvSpPr>
          <p:cNvPr id="31" name="Freeform: Shape 30">
            <a:extLst>
              <a:ext uri="{FF2B5EF4-FFF2-40B4-BE49-F238E27FC236}">
                <a16:creationId xmlns:a16="http://schemas.microsoft.com/office/drawing/2014/main" id="{D3B44ED0-522C-48BD-9CC0-4AEBA773DEE2}"/>
              </a:ext>
            </a:extLst>
          </p:cNvPr>
          <p:cNvSpPr/>
          <p:nvPr/>
        </p:nvSpPr>
        <p:spPr>
          <a:xfrm>
            <a:off x="4440761" y="1932010"/>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Syndicate categorisation</a:t>
            </a:r>
          </a:p>
        </p:txBody>
      </p:sp>
      <p:sp>
        <p:nvSpPr>
          <p:cNvPr id="32" name="Freeform: Shape 31">
            <a:extLst>
              <a:ext uri="{FF2B5EF4-FFF2-40B4-BE49-F238E27FC236}">
                <a16:creationId xmlns:a16="http://schemas.microsoft.com/office/drawing/2014/main" id="{9DEABFAC-A205-4D37-AEBF-0E8CE3D345E5}"/>
              </a:ext>
            </a:extLst>
          </p:cNvPr>
          <p:cNvSpPr/>
          <p:nvPr/>
        </p:nvSpPr>
        <p:spPr>
          <a:xfrm>
            <a:off x="3493529" y="3636866"/>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Principles for doing business at Lloyd’s</a:t>
            </a:r>
          </a:p>
        </p:txBody>
      </p:sp>
      <p:sp>
        <p:nvSpPr>
          <p:cNvPr id="33" name="Rectangle 32">
            <a:extLst>
              <a:ext uri="{FF2B5EF4-FFF2-40B4-BE49-F238E27FC236}">
                <a16:creationId xmlns:a16="http://schemas.microsoft.com/office/drawing/2014/main" id="{0DB56D7E-BD50-42BA-A66C-4C1132B2A38E}"/>
              </a:ext>
            </a:extLst>
          </p:cNvPr>
          <p:cNvSpPr/>
          <p:nvPr/>
        </p:nvSpPr>
        <p:spPr>
          <a:xfrm>
            <a:off x="6051151" y="5638595"/>
            <a:ext cx="1566445" cy="1107996"/>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An escalating scale of interventions that are linked to principles and overall syndicates categorisation</a:t>
            </a:r>
          </a:p>
        </p:txBody>
      </p:sp>
      <p:sp>
        <p:nvSpPr>
          <p:cNvPr id="34" name="Freeform: Shape 33">
            <a:extLst>
              <a:ext uri="{FF2B5EF4-FFF2-40B4-BE49-F238E27FC236}">
                <a16:creationId xmlns:a16="http://schemas.microsoft.com/office/drawing/2014/main" id="{41FD4865-DDC9-4092-9E13-318F7837C615}"/>
              </a:ext>
            </a:extLst>
          </p:cNvPr>
          <p:cNvSpPr/>
          <p:nvPr/>
        </p:nvSpPr>
        <p:spPr>
          <a:xfrm>
            <a:off x="6531183" y="4003866"/>
            <a:ext cx="1341383" cy="1341383"/>
          </a:xfrm>
          <a:custGeom>
            <a:avLst/>
            <a:gdLst>
              <a:gd name="connsiteX0" fmla="*/ 0 w 1341437"/>
              <a:gd name="connsiteY0" fmla="*/ 0 h 1341437"/>
              <a:gd name="connsiteX1" fmla="*/ 1341437 w 1341437"/>
              <a:gd name="connsiteY1" fmla="*/ 0 h 1341437"/>
              <a:gd name="connsiteX2" fmla="*/ 1341437 w 1341437"/>
              <a:gd name="connsiteY2" fmla="*/ 1341437 h 1341437"/>
              <a:gd name="connsiteX3" fmla="*/ 0 w 1341437"/>
              <a:gd name="connsiteY3" fmla="*/ 1341437 h 1341437"/>
              <a:gd name="connsiteX4" fmla="*/ 0 w 1341437"/>
              <a:gd name="connsiteY4" fmla="*/ 0 h 13414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437" h="1341437">
                <a:moveTo>
                  <a:pt x="0" y="0"/>
                </a:moveTo>
                <a:lnTo>
                  <a:pt x="1341437" y="0"/>
                </a:lnTo>
                <a:lnTo>
                  <a:pt x="1341437" y="1341437"/>
                </a:lnTo>
                <a:lnTo>
                  <a:pt x="0" y="134143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50798" tIns="50798" rIns="50798" bIns="50798"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777979" rtl="0" eaLnBrk="1" fontAlgn="auto" latinLnBrk="0" hangingPunct="1">
              <a:lnSpc>
                <a:spcPct val="90000"/>
              </a:lnSpc>
              <a:spcBef>
                <a:spcPct val="0"/>
              </a:spcBef>
              <a:spcAft>
                <a:spcPct val="35000"/>
              </a:spcAft>
              <a:buClrTx/>
              <a:buSzTx/>
              <a:buFontTx/>
              <a:buNone/>
              <a:tabLst/>
              <a:defRPr/>
            </a:pPr>
            <a:endParaRPr kumimoji="0" lang="en-GB" sz="4000" b="0" i="0" u="none" strike="noStrike" kern="1200" cap="none" spc="0" normalizeH="0" baseline="0" noProof="0">
              <a:ln>
                <a:noFill/>
              </a:ln>
              <a:solidFill>
                <a:prstClr val="black"/>
              </a:solidFill>
              <a:effectLst/>
              <a:uLnTx/>
              <a:uFillTx/>
              <a:latin typeface="Arial"/>
              <a:ea typeface="+mn-ea"/>
              <a:cs typeface="+mn-cs"/>
            </a:endParaRPr>
          </a:p>
        </p:txBody>
      </p:sp>
      <p:sp>
        <p:nvSpPr>
          <p:cNvPr id="35" name="Arrow: Circular 34">
            <a:extLst>
              <a:ext uri="{FF2B5EF4-FFF2-40B4-BE49-F238E27FC236}">
                <a16:creationId xmlns:a16="http://schemas.microsoft.com/office/drawing/2014/main" id="{327B4036-D35B-4B95-9F93-C3AD3ED2A27F}"/>
              </a:ext>
            </a:extLst>
          </p:cNvPr>
          <p:cNvSpPr/>
          <p:nvPr/>
        </p:nvSpPr>
        <p:spPr>
          <a:xfrm rot="19253159">
            <a:off x="2523419" y="2359384"/>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6" name="Arrow: Circular 35">
            <a:extLst>
              <a:ext uri="{FF2B5EF4-FFF2-40B4-BE49-F238E27FC236}">
                <a16:creationId xmlns:a16="http://schemas.microsoft.com/office/drawing/2014/main" id="{7501D02F-DF18-4D27-B458-A94A0DC26B89}"/>
              </a:ext>
            </a:extLst>
          </p:cNvPr>
          <p:cNvSpPr/>
          <p:nvPr/>
        </p:nvSpPr>
        <p:spPr>
          <a:xfrm rot="2990216">
            <a:off x="3236752" y="2033519"/>
            <a:ext cx="4829643" cy="4829643"/>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7" name="Freeform: Shape 36">
            <a:extLst>
              <a:ext uri="{FF2B5EF4-FFF2-40B4-BE49-F238E27FC236}">
                <a16:creationId xmlns:a16="http://schemas.microsoft.com/office/drawing/2014/main" id="{7DFF1A33-01E0-474D-B404-381B4963EBC5}"/>
              </a:ext>
            </a:extLst>
          </p:cNvPr>
          <p:cNvSpPr/>
          <p:nvPr/>
        </p:nvSpPr>
        <p:spPr>
          <a:xfrm>
            <a:off x="7197517" y="3657789"/>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048167AF-0FE8-4123-83E2-0C0C749EE89E}"/>
              </a:ext>
            </a:extLst>
          </p:cNvPr>
          <p:cNvSpPr/>
          <p:nvPr/>
        </p:nvSpPr>
        <p:spPr>
          <a:xfrm>
            <a:off x="8847665" y="4097715"/>
            <a:ext cx="1513734" cy="938719"/>
          </a:xfrm>
          <a:prstGeom prst="rect">
            <a:avLst/>
          </a:prstGeom>
        </p:spPr>
        <p:txBody>
          <a:bodyPr wrap="square">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100328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a:ea typeface="+mn-ea"/>
                <a:cs typeface="+mn-cs"/>
              </a:rPr>
              <a:t>Growth and development opportunities for the best run businesses</a:t>
            </a:r>
          </a:p>
        </p:txBody>
      </p:sp>
      <p:sp>
        <p:nvSpPr>
          <p:cNvPr id="39" name="Freeform: Shape 38">
            <a:extLst>
              <a:ext uri="{FF2B5EF4-FFF2-40B4-BE49-F238E27FC236}">
                <a16:creationId xmlns:a16="http://schemas.microsoft.com/office/drawing/2014/main" id="{3D37F545-3D19-4E0A-8216-CE61FE2C64F3}"/>
              </a:ext>
            </a:extLst>
          </p:cNvPr>
          <p:cNvSpPr/>
          <p:nvPr/>
        </p:nvSpPr>
        <p:spPr>
          <a:xfrm>
            <a:off x="5380292" y="3647211"/>
            <a:ext cx="1747436" cy="200854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21837" tIns="362527" rIns="321837" bIns="362527" numCol="1" spcCol="1270" anchor="ctr" anchorCtr="0">
            <a:no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endParaRPr kumimoji="0" lang="en-GB" sz="1300" b="0" i="0" u="none" strike="noStrike" kern="1200" cap="none" spc="0" normalizeH="0" baseline="0" noProof="0">
              <a:ln>
                <a:noFill/>
              </a:ln>
              <a:solidFill>
                <a:prstClr val="black"/>
              </a:solidFill>
              <a:effectLst/>
              <a:uLnTx/>
              <a:uFillTx/>
              <a:latin typeface="Arial"/>
              <a:ea typeface="+mn-ea"/>
              <a:cs typeface="+mn-cs"/>
            </a:endParaRPr>
          </a:p>
        </p:txBody>
      </p:sp>
      <p:sp>
        <p:nvSpPr>
          <p:cNvPr id="40" name="TextBox 39">
            <a:extLst>
              <a:ext uri="{FF2B5EF4-FFF2-40B4-BE49-F238E27FC236}">
                <a16:creationId xmlns:a16="http://schemas.microsoft.com/office/drawing/2014/main" id="{1CEB6AB2-66D2-440B-B4BC-D30B03E2FF2A}"/>
              </a:ext>
            </a:extLst>
          </p:cNvPr>
          <p:cNvSpPr txBox="1"/>
          <p:nvPr/>
        </p:nvSpPr>
        <p:spPr>
          <a:xfrm>
            <a:off x="7452911" y="4448341"/>
            <a:ext cx="1242065" cy="452432"/>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Development opportunities </a:t>
            </a:r>
          </a:p>
        </p:txBody>
      </p:sp>
      <p:sp>
        <p:nvSpPr>
          <p:cNvPr id="41" name="TextBox 40">
            <a:extLst>
              <a:ext uri="{FF2B5EF4-FFF2-40B4-BE49-F238E27FC236}">
                <a16:creationId xmlns:a16="http://schemas.microsoft.com/office/drawing/2014/main" id="{BCFEC55E-0419-48DD-A414-02EE2F1C36C4}"/>
              </a:ext>
            </a:extLst>
          </p:cNvPr>
          <p:cNvSpPr txBox="1"/>
          <p:nvPr/>
        </p:nvSpPr>
        <p:spPr>
          <a:xfrm>
            <a:off x="5651573" y="4297212"/>
            <a:ext cx="1182801" cy="632481"/>
          </a:xfrm>
          <a:prstGeom prst="rect">
            <a:avLst/>
          </a:prstGeom>
          <a:noFill/>
        </p:spPr>
        <p:txBody>
          <a:bodyPr wrap="square" rtlCol="0">
            <a:spAutoFit/>
          </a:bodyPr>
          <a:lstStyle>
            <a:defPPr>
              <a:defRPr lang="en-US"/>
            </a:defPPr>
            <a:lvl1pPr marL="0" algn="l" defTabSz="1003280" rtl="0" eaLnBrk="1" latinLnBrk="0" hangingPunct="1">
              <a:defRPr sz="1975" kern="1200">
                <a:solidFill>
                  <a:schemeClr val="tx1"/>
                </a:solidFill>
                <a:latin typeface="+mn-lt"/>
                <a:ea typeface="+mn-ea"/>
                <a:cs typeface="+mn-cs"/>
              </a:defRPr>
            </a:lvl1pPr>
            <a:lvl2pPr marL="501640" algn="l" defTabSz="1003280" rtl="0" eaLnBrk="1" latinLnBrk="0" hangingPunct="1">
              <a:defRPr sz="1975" kern="1200">
                <a:solidFill>
                  <a:schemeClr val="tx1"/>
                </a:solidFill>
                <a:latin typeface="+mn-lt"/>
                <a:ea typeface="+mn-ea"/>
                <a:cs typeface="+mn-cs"/>
              </a:defRPr>
            </a:lvl2pPr>
            <a:lvl3pPr marL="1003280" algn="l" defTabSz="1003280" rtl="0" eaLnBrk="1" latinLnBrk="0" hangingPunct="1">
              <a:defRPr sz="1975" kern="1200">
                <a:solidFill>
                  <a:schemeClr val="tx1"/>
                </a:solidFill>
                <a:latin typeface="+mn-lt"/>
                <a:ea typeface="+mn-ea"/>
                <a:cs typeface="+mn-cs"/>
              </a:defRPr>
            </a:lvl3pPr>
            <a:lvl4pPr marL="1504920" algn="l" defTabSz="1003280" rtl="0" eaLnBrk="1" latinLnBrk="0" hangingPunct="1">
              <a:defRPr sz="1975" kern="1200">
                <a:solidFill>
                  <a:schemeClr val="tx1"/>
                </a:solidFill>
                <a:latin typeface="+mn-lt"/>
                <a:ea typeface="+mn-ea"/>
                <a:cs typeface="+mn-cs"/>
              </a:defRPr>
            </a:lvl4pPr>
            <a:lvl5pPr marL="2006559" algn="l" defTabSz="1003280" rtl="0" eaLnBrk="1" latinLnBrk="0" hangingPunct="1">
              <a:defRPr sz="1975" kern="1200">
                <a:solidFill>
                  <a:schemeClr val="tx1"/>
                </a:solidFill>
                <a:latin typeface="+mn-lt"/>
                <a:ea typeface="+mn-ea"/>
                <a:cs typeface="+mn-cs"/>
              </a:defRPr>
            </a:lvl5pPr>
            <a:lvl6pPr marL="2508199" algn="l" defTabSz="1003280" rtl="0" eaLnBrk="1" latinLnBrk="0" hangingPunct="1">
              <a:defRPr sz="1975" kern="1200">
                <a:solidFill>
                  <a:schemeClr val="tx1"/>
                </a:solidFill>
                <a:latin typeface="+mn-lt"/>
                <a:ea typeface="+mn-ea"/>
                <a:cs typeface="+mn-cs"/>
              </a:defRPr>
            </a:lvl6pPr>
            <a:lvl7pPr marL="3009839" algn="l" defTabSz="1003280" rtl="0" eaLnBrk="1" latinLnBrk="0" hangingPunct="1">
              <a:defRPr sz="1975" kern="1200">
                <a:solidFill>
                  <a:schemeClr val="tx1"/>
                </a:solidFill>
                <a:latin typeface="+mn-lt"/>
                <a:ea typeface="+mn-ea"/>
                <a:cs typeface="+mn-cs"/>
              </a:defRPr>
            </a:lvl7pPr>
            <a:lvl8pPr marL="3511479" algn="l" defTabSz="1003280" rtl="0" eaLnBrk="1" latinLnBrk="0" hangingPunct="1">
              <a:defRPr sz="1975" kern="1200">
                <a:solidFill>
                  <a:schemeClr val="tx1"/>
                </a:solidFill>
                <a:latin typeface="+mn-lt"/>
                <a:ea typeface="+mn-ea"/>
                <a:cs typeface="+mn-cs"/>
              </a:defRPr>
            </a:lvl8pPr>
            <a:lvl9pPr marL="4013119" algn="l" defTabSz="1003280" rtl="0" eaLnBrk="1" latinLnBrk="0" hangingPunct="1">
              <a:defRPr sz="1975" kern="1200">
                <a:solidFill>
                  <a:schemeClr val="tx1"/>
                </a:solidFill>
                <a:latin typeface="+mn-lt"/>
                <a:ea typeface="+mn-ea"/>
                <a:cs typeface="+mn-cs"/>
              </a:defRPr>
            </a:lvl9pPr>
          </a:lstStyle>
          <a:p>
            <a:pPr marL="0" marR="0" lvl="0" indent="0" algn="ctr" defTabSz="577843" rtl="0" eaLnBrk="1" fontAlgn="auto" latinLnBrk="0" hangingPunct="1">
              <a:lnSpc>
                <a:spcPct val="90000"/>
              </a:lnSpc>
              <a:spcBef>
                <a:spcPct val="0"/>
              </a:spcBef>
              <a:spcAft>
                <a:spcPct val="35000"/>
              </a:spcAft>
              <a:buClrTx/>
              <a:buSzTx/>
              <a:buFontTx/>
              <a:buNone/>
              <a:tabLst/>
              <a:defRPr/>
            </a:pPr>
            <a:r>
              <a:rPr kumimoji="0" lang="en-GB" sz="1300" b="0" i="0" u="none" strike="noStrike" kern="1200" cap="none" spc="0" normalizeH="0" baseline="0" noProof="0">
                <a:ln>
                  <a:noFill/>
                </a:ln>
                <a:solidFill>
                  <a:prstClr val="white"/>
                </a:solidFill>
                <a:effectLst/>
                <a:uLnTx/>
                <a:uFillTx/>
                <a:latin typeface="Arial"/>
                <a:ea typeface="+mn-ea"/>
                <a:cs typeface="+mn-cs"/>
              </a:rPr>
              <a:t>Oversight and interventions</a:t>
            </a:r>
          </a:p>
        </p:txBody>
      </p:sp>
      <p:sp>
        <p:nvSpPr>
          <p:cNvPr id="42" name="Arrow: Circular 41">
            <a:extLst>
              <a:ext uri="{FF2B5EF4-FFF2-40B4-BE49-F238E27FC236}">
                <a16:creationId xmlns:a16="http://schemas.microsoft.com/office/drawing/2014/main" id="{16A2C929-B346-4DA1-95D8-39BC76EBE5AD}"/>
              </a:ext>
            </a:extLst>
          </p:cNvPr>
          <p:cNvSpPr/>
          <p:nvPr/>
        </p:nvSpPr>
        <p:spPr>
          <a:xfrm rot="11112765">
            <a:off x="3291717" y="1699372"/>
            <a:ext cx="4325622" cy="4777062"/>
          </a:xfrm>
          <a:prstGeom prst="circularArrow">
            <a:avLst>
              <a:gd name="adj1" fmla="val 8252"/>
              <a:gd name="adj2" fmla="val 576426"/>
              <a:gd name="adj3" fmla="val 16855402"/>
              <a:gd name="adj4" fmla="val 14968173"/>
              <a:gd name="adj5" fmla="val 9627"/>
            </a:avLst>
          </a:prstGeom>
          <a:noFill/>
          <a:ln>
            <a:solidFill>
              <a:schemeClr val="accent1"/>
            </a:solidFill>
            <a:prstDash val="lgDash"/>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 name="Rectangle 4">
            <a:extLst>
              <a:ext uri="{FF2B5EF4-FFF2-40B4-BE49-F238E27FC236}">
                <a16:creationId xmlns:a16="http://schemas.microsoft.com/office/drawing/2014/main" id="{918CE6F7-ACE1-4C49-9A55-1B2B29F320E5}"/>
              </a:ext>
            </a:extLst>
          </p:cNvPr>
          <p:cNvSpPr/>
          <p:nvPr/>
        </p:nvSpPr>
        <p:spPr>
          <a:xfrm>
            <a:off x="3083653" y="3244333"/>
            <a:ext cx="2577839" cy="369332"/>
          </a:xfrm>
          <a:prstGeom prst="rect">
            <a:avLst/>
          </a:prstGeom>
        </p:spPr>
        <p:txBody>
          <a:bodyPr wrap="square">
            <a:spAutoFit/>
          </a:bodyPr>
          <a:lstStyle/>
          <a:p>
            <a:r>
              <a:rPr lang="en-GB">
                <a:solidFill>
                  <a:srgbClr val="000000"/>
                </a:solidFill>
                <a:latin typeface="Times New Roman" panose="02020603050405020304" pitchFamily="18" charset="0"/>
              </a:rPr>
              <a:t> </a:t>
            </a:r>
            <a:endParaRPr lang="en-GB"/>
          </a:p>
        </p:txBody>
      </p:sp>
      <p:sp>
        <p:nvSpPr>
          <p:cNvPr id="6" name="Rectangle 5">
            <a:extLst>
              <a:ext uri="{FF2B5EF4-FFF2-40B4-BE49-F238E27FC236}">
                <a16:creationId xmlns:a16="http://schemas.microsoft.com/office/drawing/2014/main" id="{849178CE-EC7E-4239-AD72-892E1DC62604}"/>
              </a:ext>
            </a:extLst>
          </p:cNvPr>
          <p:cNvSpPr/>
          <p:nvPr/>
        </p:nvSpPr>
        <p:spPr>
          <a:xfrm>
            <a:off x="3762947" y="1398611"/>
            <a:ext cx="3777252" cy="600164"/>
          </a:xfrm>
          <a:prstGeom prst="rect">
            <a:avLst/>
          </a:prstGeom>
        </p:spPr>
        <p:txBody>
          <a:bodyPr wrap="square">
            <a:spAutoFit/>
          </a:bodyPr>
          <a:lstStyle/>
          <a:p>
            <a:r>
              <a:rPr lang="en-GB" sz="1100" b="1">
                <a:solidFill>
                  <a:prstClr val="black"/>
                </a:solidFill>
                <a:latin typeface="Arial"/>
              </a:rPr>
              <a:t>One consistent approach to syndicate and agent categorisation based on assessment against Principles on a qualitative and quantitative basis</a:t>
            </a:r>
          </a:p>
        </p:txBody>
      </p:sp>
    </p:spTree>
    <p:extLst>
      <p:ext uri="{BB962C8B-B14F-4D97-AF65-F5344CB8AC3E}">
        <p14:creationId xmlns:p14="http://schemas.microsoft.com/office/powerpoint/2010/main" val="1207319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 name="ISPRING_RESOURCE_PATHS_HASH_PRESENTER" val="44e663d6cb386afbe3f46cdb2e8fb24494d17e73"/>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IAAAAAAAAAAwAAAAMAAAAA/////wQAJwwAAAAAAAAAAAAAIAD///////////////8AAAD///////////////8DAAAAAgD///////8DAAAAAgD///////8DAAAAAwD///////////////////////////////////////////////////////////////////////////////////////////////////////////////////////////////////////////////////////////////////////////////////////////////////////////////////////////////////////////////////////////////////////////////////////////////////////////////////////////////////////////////////////////////////////////////////////////////////////////////////////////////////////////////////////////////////////////////8BACAA////////////////AAAO////////AwAAAAMA////////////////////////////////////////////////////////////////////////////////////////////////////////////////////////////////////////////////////////////////////////////////////////////////////////////////////////////////////////////////////////////////////////////////////////////////////////////////////////////////////////////////////////////////////////////////////////////////////////////////////////////////////////////////////////////////////////////////////////////////////////////////////////AgACAP///////wQAAAACABAAC1ylGjrS5GtJhJ9k3eB7p70FAAAAAAADAAAAAAADAAAAAwADAAAAAAADAAAAAwADAAMA////////BAAAAAMAEAALS/j1RwW9iEKsVsZixTJIYQUAAAABAAMAAAACAAMAAAABAAMAAAAC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PwLAAAAAAAAAAAAACAB////////////////AAAA////////////////BAAAAAMA////////BAAAAAMA////////BAAAAAMA////////BAAAAAMA////////////////////////////////////////////////////////////////////////////////////////////////////////////////////////////////////////////////////////////////////////////////////////////////////////////////////////////////////////////////////////////////////////////////////////////////////////////////////////////////////////////////////////////////////////////////////////////////////////////////////////////////////////////////////////////////AQAgAf///////////////wAADv///////wQAAAACAP///////////////////////////////////////////////////////////////////////////////////////////////////////////////////////////////////////////////////////////////////////////////////////////////////////////////////////////////////////////////////////////////////////////////////////////////////////////////////////////////////////////////////////////////////////////////////////////////////////////////////////////////////////////////////////////////////////////////////////////////////////////////////////wIAAgEDAAAAAgD///////8aAAZMaW5rZWRTaGFwZXNEYXRhUHJvcGVydHlfMAUAAAAAAAQAAAADAAQAAAABAAQAAAADAP///////wMABAEDAAAAAwD///////8lAAZMaW5rZWRTaGFwZVByZXNlbnRhdGlvblNldHRpbmdzRGF0YV8wBQAAAAEABAAAAAAABAAAAAIABAAAAAAABAAAAAIABAAA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FylGjrS5GtJhJ9k3eB7p70DRGF0YQAbAAAABExpbmtlZFNoYXBlRGF0YQAFAAAAAAACTmFtZQAZAAAATGlua2VkU2hhcGVzRGF0YVByb3BlcnR5ABBWZXJzaW9uAAAAAAAJTGFzdFdyaXRlAMogrPh4AQAAAAEA/////50AnQAAAAVfaWQAEAAAAARL+PVHBb2IQqxWxmLFMkhhA0RhdGEAKgAAAAhQcmVzZW50YXRpb25TY2FubmVkRm9yTGlua2VkU2hhcGVzAAEAAk5hbWUAJAAAAExpbmtlZFNoYXBlUHJlc2VudGF0aW9uU2V0dGluZ3NEYXRhABBWZXJzaW9uAAAAAAAJTGFzdFdyaXRlAPYgrPh4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True"/>
  <p:tag name="MIO_NUMBER_OF_VALID_LAYOUTS" val="19"/>
  <p:tag name="MIO_HDS" val="True"/>
  <p:tag name="MIO_EK" val="43445"/>
  <p:tag name="MIO_EKGUID" val="36ed9850-1a62-49ad-9a7e-e6970c0df9f7"/>
  <p:tag name="MIO_UPDATE" val="True"/>
  <p:tag name="MIO_VERSION" val="08.08.2016 13:11:21"/>
  <p:tag name="MIO_DBID" val="B8FCB12D-AF03-49EB-9F79-BB019BE99E1E"/>
  <p:tag name="MIO_LASTDOWNLOADED" val="08.08.2016 14:11:23"/>
  <p:tag name="MIO_OBJECTNAME" val="Lloyd's 2016 Onscreen"/>
  <p:tag name="MIO_LASTEDITORNAME" val="Debbie Minchington"/>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RNRSTYLE" val="1"/>
</p:tagLst>
</file>

<file path=ppt/theme/theme1.xml><?xml version="1.0" encoding="utf-8"?>
<a:theme xmlns:a="http://schemas.openxmlformats.org/drawingml/2006/main" name="2021 Update">
  <a:themeElements>
    <a:clrScheme name="Lloyds NEW">
      <a:dk1>
        <a:sysClr val="windowText" lastClr="000000"/>
      </a:dk1>
      <a:lt1>
        <a:sysClr val="window" lastClr="FFFFFF"/>
      </a:lt1>
      <a:dk2>
        <a:srgbClr val="A1A1A2"/>
      </a:dk2>
      <a:lt2>
        <a:srgbClr val="717C7C"/>
      </a:lt2>
      <a:accent1>
        <a:srgbClr val="0021A4"/>
      </a:accent1>
      <a:accent2>
        <a:srgbClr val="282F54"/>
      </a:accent2>
      <a:accent3>
        <a:srgbClr val="0A4BB7"/>
      </a:accent3>
      <a:accent4>
        <a:srgbClr val="54A6FF"/>
      </a:accent4>
      <a:accent5>
        <a:srgbClr val="00CBB6"/>
      </a:accent5>
      <a:accent6>
        <a:srgbClr val="FF5241"/>
      </a:accent6>
      <a:hlink>
        <a:srgbClr val="1E35BF"/>
      </a:hlink>
      <a:folHlink>
        <a:srgbClr val="0021A4"/>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000" b="1" dirty="0" err="1" smtClean="0">
            <a:solidFill>
              <a:schemeClr val="accent3"/>
            </a:solidFill>
          </a:defRPr>
        </a:defPPr>
      </a:lstStyle>
    </a:txDef>
  </a:objectDefaults>
  <a:extraClrSchemeLst/>
  <a:custClrLst>
    <a:custClr name="LightBlue">
      <a:srgbClr val="CCE4F7"/>
    </a:custClr>
    <a:custClr name="Yellow">
      <a:srgbClr val="FFC629"/>
    </a:custClr>
  </a:custClrLst>
  <a:extLst>
    <a:ext uri="{05A4C25C-085E-4340-85A3-A5531E510DB2}">
      <thm15:themeFamily xmlns:thm15="http://schemas.microsoft.com/office/thememl/2012/main" name="Lloyds_print layout_widescreen.pptx" id="{A14A3226-9935-4EB9-BE3D-02DEAF98ABA1}" vid="{DBE872EE-9710-4167-A3FD-8760417956D1}"/>
    </a:ext>
  </a:extLst>
</a:theme>
</file>

<file path=ppt/theme/theme2.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Lloyds Print">
      <a:dk1>
        <a:sysClr val="windowText" lastClr="000000"/>
      </a:dk1>
      <a:lt1>
        <a:sysClr val="window" lastClr="FFFFFF"/>
      </a:lt1>
      <a:dk2>
        <a:srgbClr val="003B4C"/>
      </a:dk2>
      <a:lt2>
        <a:srgbClr val="A1A1A2"/>
      </a:lt2>
      <a:accent1>
        <a:srgbClr val="1E35BF"/>
      </a:accent1>
      <a:accent2>
        <a:srgbClr val="282F54"/>
      </a:accent2>
      <a:accent3>
        <a:srgbClr val="0021A4"/>
      </a:accent3>
      <a:accent4>
        <a:srgbClr val="0A4BB7"/>
      </a:accent4>
      <a:accent5>
        <a:srgbClr val="A1A1A2"/>
      </a:accent5>
      <a:accent6>
        <a:srgbClr val="717C7C"/>
      </a:accent6>
      <a:hlink>
        <a:srgbClr val="16284C"/>
      </a:hlink>
      <a:folHlink>
        <a:srgbClr val="8B8A8E"/>
      </a:folHlink>
    </a:clrScheme>
    <a:fontScheme name="Lloyds Pri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D52EDC16965DB4EB35E9388979817DF" ma:contentTypeVersion="14" ma:contentTypeDescription="Create a new document." ma:contentTypeScope="" ma:versionID="b3d4028a0171a406f62f96e8167c93d9">
  <xsd:schema xmlns:xsd="http://www.w3.org/2001/XMLSchema" xmlns:xs="http://www.w3.org/2001/XMLSchema" xmlns:p="http://schemas.microsoft.com/office/2006/metadata/properties" xmlns:ns1="http://schemas.microsoft.com/sharepoint/v3" xmlns:ns2="47bf1b99-a167-4c0f-9394-231d07a275e5" xmlns:ns3="fe136820-4826-4e16-bf1c-60c325765353" targetNamespace="http://schemas.microsoft.com/office/2006/metadata/properties" ma:root="true" ma:fieldsID="0d4063b757fac4424e5fd37a9734f73a" ns1:_="" ns2:_="" ns3:_="">
    <xsd:import namespace="http://schemas.microsoft.com/sharepoint/v3"/>
    <xsd:import namespace="47bf1b99-a167-4c0f-9394-231d07a275e5"/>
    <xsd:import namespace="fe136820-4826-4e16-bf1c-60c32576535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GenerationTime" minOccurs="0"/>
                <xsd:element ref="ns2:MediaServiceEventHashCode" minOccurs="0"/>
                <xsd:element ref="ns1:_ip_UnifiedCompliancePolicyProperties" minOccurs="0"/>
                <xsd:element ref="ns1:_ip_UnifiedCompliancePolicyUIAction" minOccurs="0"/>
                <xsd:element ref="ns2:MediaServiceOCR"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7" nillable="true" ma:displayName="Unified Compliance Policy Properties" ma:hidden="true" ma:internalName="_ip_UnifiedCompliancePolicyProperties">
      <xsd:simpleType>
        <xsd:restriction base="dms:Note"/>
      </xsd:simpleType>
    </xsd:element>
    <xsd:element name="_ip_UnifiedCompliancePolicyUIAction" ma:index="18"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bf1b99-a167-4c0f-9394-231d07a275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e136820-4826-4e16-bf1c-60c32576535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3332FE-4418-4746-B203-003AED648657}">
  <ds:schemaRefs>
    <ds:schemaRef ds:uri="47bf1b99-a167-4c0f-9394-231d07a275e5"/>
    <ds:schemaRef ds:uri="fe136820-4826-4e16-bf1c-60c32576535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B4FE5EC-8545-4CB3-89BA-A383D564892E}">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47bf1b99-a167-4c0f-9394-231d07a275e5"/>
    <ds:schemaRef ds:uri="http://schemas.microsoft.com/sharepoint/v3"/>
    <ds:schemaRef ds:uri="http://purl.org/dc/terms/"/>
    <ds:schemaRef ds:uri="fe136820-4826-4e16-bf1c-60c325765353"/>
    <ds:schemaRef ds:uri="http://www.w3.org/XML/1998/namespace"/>
    <ds:schemaRef ds:uri="http://purl.org/dc/dcmitype/"/>
  </ds:schemaRefs>
</ds:datastoreItem>
</file>

<file path=customXml/itemProps3.xml><?xml version="1.0" encoding="utf-8"?>
<ds:datastoreItem xmlns:ds="http://schemas.openxmlformats.org/officeDocument/2006/customXml" ds:itemID="{0877E67A-46B8-47C9-9A5E-447359B3EA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LL00-811001-Lloyds_print_layout_widescreen</Template>
  <TotalTime>0</TotalTime>
  <Words>5839</Words>
  <Application>Microsoft Office PowerPoint</Application>
  <PresentationFormat>Widescreen</PresentationFormat>
  <Paragraphs>924</Paragraphs>
  <Slides>43</Slides>
  <Notes>1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43</vt:i4>
      </vt:variant>
    </vt:vector>
  </HeadingPairs>
  <TitlesOfParts>
    <vt:vector size="50" baseType="lpstr">
      <vt:lpstr>Arial</vt:lpstr>
      <vt:lpstr>Calibri</vt:lpstr>
      <vt:lpstr>Century Gothic</vt:lpstr>
      <vt:lpstr>Symbol</vt:lpstr>
      <vt:lpstr>Times New Roman</vt:lpstr>
      <vt:lpstr>Wingdings</vt:lpstr>
      <vt:lpstr>2021 Update</vt:lpstr>
      <vt:lpstr>PowerPoint Presentation</vt:lpstr>
      <vt:lpstr>Agenda </vt:lpstr>
      <vt:lpstr>PowerPoint Presentation</vt:lpstr>
      <vt:lpstr>Oversight Framework</vt:lpstr>
      <vt:lpstr>Oversight Framework</vt:lpstr>
      <vt:lpstr>Oversight Framework</vt:lpstr>
      <vt:lpstr>Oversight Framework</vt:lpstr>
      <vt:lpstr>Oversight Framework</vt:lpstr>
      <vt:lpstr>Oversight Framework</vt:lpstr>
      <vt:lpstr>Oversight Framework</vt:lpstr>
      <vt:lpstr>Oversight Framework</vt:lpstr>
      <vt:lpstr>Oversight Framework</vt:lpstr>
      <vt:lpstr>Oversight Framework</vt:lpstr>
      <vt:lpstr>Oversight Framework</vt:lpstr>
      <vt:lpstr>Oversight Framework </vt:lpstr>
      <vt:lpstr>Oversight Framework </vt:lpstr>
      <vt:lpstr>Oversight Framework </vt:lpstr>
      <vt:lpstr>Oversight Framework </vt:lpstr>
      <vt:lpstr>Oversight Framework</vt:lpstr>
      <vt:lpstr>Oversight Framework</vt:lpstr>
      <vt:lpstr>PowerPoint Presentation</vt:lpstr>
      <vt:lpstr>Oversight Framework – Outwards Reinsurance </vt:lpstr>
      <vt:lpstr>Oversight Framework - Outwards Reinsurance</vt:lpstr>
      <vt:lpstr>Oversight Framework - Outwards Reinsurance</vt:lpstr>
      <vt:lpstr>Oversight Framework – Outwards Reinsurance</vt:lpstr>
      <vt:lpstr>Oversight Framework – Outwards Reinsurance</vt:lpstr>
      <vt:lpstr>PowerPoint Presentation</vt:lpstr>
      <vt:lpstr>Case Study 1: Syndicate X </vt:lpstr>
      <vt:lpstr>Case Study: Syndicate X </vt:lpstr>
      <vt:lpstr>Case Study 1: Syndicate X</vt:lpstr>
      <vt:lpstr>Case Study 2: Syndicate Y</vt:lpstr>
      <vt:lpstr>Case Study 2: Syndicate Y</vt:lpstr>
      <vt:lpstr>Case Study 2: Syndicate Y</vt:lpstr>
      <vt:lpstr>PowerPoint Presentation</vt:lpstr>
      <vt:lpstr>Principles self-assessments</vt:lpstr>
      <vt:lpstr>What are the key differences between the “Attestation” and “self-assessment”?</vt:lpstr>
      <vt:lpstr>PowerPoint Presentation</vt:lpstr>
      <vt:lpstr>Self-assessment Principles rating</vt:lpstr>
      <vt:lpstr>Self-assessment Principles rating</vt:lpstr>
      <vt:lpstr>PowerPoint Presentation</vt:lpstr>
      <vt:lpstr>Next Steps and Timeline </vt:lpstr>
      <vt:lpstr>What should you be doing?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llins, Michelle</dc:creator>
  <cp:lastModifiedBy>Teape, Nadine</cp:lastModifiedBy>
  <cp:revision>187</cp:revision>
  <dcterms:created xsi:type="dcterms:W3CDTF">2022-01-07T10:54:20Z</dcterms:created>
  <dcterms:modified xsi:type="dcterms:W3CDTF">2022-02-25T09:3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D52EDC16965DB4EB35E9388979817DF</vt:lpwstr>
  </property>
  <property fmtid="{D5CDD505-2E9C-101B-9397-08002B2CF9AE}" pid="3" name="_dlc_DocIdItemGuid">
    <vt:lpwstr>ed09471b-42fd-4ef5-b134-1a6c2b12d48c</vt:lpwstr>
  </property>
  <property fmtid="{D5CDD505-2E9C-101B-9397-08002B2CF9AE}" pid="4" name="MSIP_Label_b3b4ac1b-ad46-41e5-bbef-cfcc59b99d32_Enabled">
    <vt:lpwstr>true</vt:lpwstr>
  </property>
  <property fmtid="{D5CDD505-2E9C-101B-9397-08002B2CF9AE}" pid="5" name="MSIP_Label_b3b4ac1b-ad46-41e5-bbef-cfcc59b99d32_SetDate">
    <vt:lpwstr>2022-02-25T09:34:21Z</vt:lpwstr>
  </property>
  <property fmtid="{D5CDD505-2E9C-101B-9397-08002B2CF9AE}" pid="6" name="MSIP_Label_b3b4ac1b-ad46-41e5-bbef-cfcc59b99d32_Method">
    <vt:lpwstr>Standard</vt:lpwstr>
  </property>
  <property fmtid="{D5CDD505-2E9C-101B-9397-08002B2CF9AE}" pid="7" name="MSIP_Label_b3b4ac1b-ad46-41e5-bbef-cfcc59b99d32_Name">
    <vt:lpwstr>b3b4ac1b-ad46-41e5-bbef-cfcc59b99d32</vt:lpwstr>
  </property>
  <property fmtid="{D5CDD505-2E9C-101B-9397-08002B2CF9AE}" pid="8" name="MSIP_Label_b3b4ac1b-ad46-41e5-bbef-cfcc59b99d32_SiteId">
    <vt:lpwstr>8df4b91e-bf72-411d-9902-5ecc8f1e6c11</vt:lpwstr>
  </property>
  <property fmtid="{D5CDD505-2E9C-101B-9397-08002B2CF9AE}" pid="9" name="MSIP_Label_b3b4ac1b-ad46-41e5-bbef-cfcc59b99d32_ActionId">
    <vt:lpwstr/>
  </property>
  <property fmtid="{D5CDD505-2E9C-101B-9397-08002B2CF9AE}" pid="10" name="MSIP_Label_b3b4ac1b-ad46-41e5-bbef-cfcc59b99d32_ContentBits">
    <vt:lpwstr>2</vt:lpwstr>
  </property>
</Properties>
</file>